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mov" ContentType="video/quicktime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779" r:id="rId4"/>
  </p:sldMasterIdLst>
  <p:notesMasterIdLst>
    <p:notesMasterId r:id="rId48"/>
  </p:notesMasterIdLst>
  <p:handoutMasterIdLst>
    <p:handoutMasterId r:id="rId49"/>
  </p:handoutMasterIdLst>
  <p:sldIdLst>
    <p:sldId id="386" r:id="rId5"/>
    <p:sldId id="501" r:id="rId6"/>
    <p:sldId id="507" r:id="rId7"/>
    <p:sldId id="502" r:id="rId8"/>
    <p:sldId id="503" r:id="rId9"/>
    <p:sldId id="504" r:id="rId10"/>
    <p:sldId id="517" r:id="rId11"/>
    <p:sldId id="508" r:id="rId12"/>
    <p:sldId id="509" r:id="rId13"/>
    <p:sldId id="510" r:id="rId14"/>
    <p:sldId id="491" r:id="rId15"/>
    <p:sldId id="493" r:id="rId16"/>
    <p:sldId id="514" r:id="rId17"/>
    <p:sldId id="515" r:id="rId18"/>
    <p:sldId id="512" r:id="rId19"/>
    <p:sldId id="513" r:id="rId20"/>
    <p:sldId id="516" r:id="rId21"/>
    <p:sldId id="519" r:id="rId22"/>
    <p:sldId id="525" r:id="rId23"/>
    <p:sldId id="524" r:id="rId24"/>
    <p:sldId id="543" r:id="rId25"/>
    <p:sldId id="521" r:id="rId26"/>
    <p:sldId id="523" r:id="rId27"/>
    <p:sldId id="526" r:id="rId28"/>
    <p:sldId id="497" r:id="rId29"/>
    <p:sldId id="500" r:id="rId30"/>
    <p:sldId id="527" r:id="rId31"/>
    <p:sldId id="483" r:id="rId32"/>
    <p:sldId id="528" r:id="rId33"/>
    <p:sldId id="529" r:id="rId34"/>
    <p:sldId id="530" r:id="rId35"/>
    <p:sldId id="531" r:id="rId36"/>
    <p:sldId id="532" r:id="rId37"/>
    <p:sldId id="533" r:id="rId38"/>
    <p:sldId id="534" r:id="rId39"/>
    <p:sldId id="535" r:id="rId40"/>
    <p:sldId id="538" r:id="rId41"/>
    <p:sldId id="540" r:id="rId42"/>
    <p:sldId id="541" r:id="rId43"/>
    <p:sldId id="537" r:id="rId44"/>
    <p:sldId id="542" r:id="rId45"/>
    <p:sldId id="496" r:id="rId46"/>
    <p:sldId id="431" r:id="rId47"/>
  </p:sldIdLst>
  <p:sldSz cx="9144000" cy="5143500" type="screen16x9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674C152-97D9-964B-B6C6-6FF625D38181}">
          <p14:sldIdLst>
            <p14:sldId id="386"/>
            <p14:sldId id="501"/>
            <p14:sldId id="507"/>
            <p14:sldId id="502"/>
            <p14:sldId id="503"/>
            <p14:sldId id="504"/>
            <p14:sldId id="517"/>
            <p14:sldId id="508"/>
            <p14:sldId id="509"/>
            <p14:sldId id="510"/>
            <p14:sldId id="491"/>
            <p14:sldId id="493"/>
            <p14:sldId id="514"/>
            <p14:sldId id="515"/>
            <p14:sldId id="512"/>
            <p14:sldId id="513"/>
            <p14:sldId id="516"/>
            <p14:sldId id="519"/>
            <p14:sldId id="525"/>
            <p14:sldId id="524"/>
            <p14:sldId id="543"/>
            <p14:sldId id="521"/>
            <p14:sldId id="523"/>
            <p14:sldId id="526"/>
            <p14:sldId id="497"/>
            <p14:sldId id="500"/>
            <p14:sldId id="527"/>
            <p14:sldId id="483"/>
            <p14:sldId id="528"/>
            <p14:sldId id="529"/>
            <p14:sldId id="530"/>
            <p14:sldId id="531"/>
            <p14:sldId id="532"/>
            <p14:sldId id="533"/>
            <p14:sldId id="534"/>
            <p14:sldId id="535"/>
            <p14:sldId id="538"/>
            <p14:sldId id="540"/>
            <p14:sldId id="541"/>
            <p14:sldId id="537"/>
            <p14:sldId id="542"/>
            <p14:sldId id="496"/>
            <p14:sldId id="43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78">
          <p15:clr>
            <a:srgbClr val="A4A3A4"/>
          </p15:clr>
        </p15:guide>
        <p15:guide id="2" pos="5612">
          <p15:clr>
            <a:srgbClr val="A4A3A4"/>
          </p15:clr>
        </p15:guide>
        <p15:guide id="3" pos="2804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hor" initials="A" lastIdx="0" clrIdx="8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177"/>
    <a:srgbClr val="000000"/>
    <a:srgbClr val="8485A4"/>
    <a:srgbClr val="9CC2E5"/>
    <a:srgbClr val="9CDA84"/>
    <a:srgbClr val="66CD00"/>
    <a:srgbClr val="66AADD"/>
    <a:srgbClr val="DD3B4E"/>
    <a:srgbClr val="FFFFFF"/>
    <a:srgbClr val="E62F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55" autoAdjust="0"/>
    <p:restoredTop sz="78027" autoAdjust="0"/>
  </p:normalViewPr>
  <p:slideViewPr>
    <p:cSldViewPr snapToGrid="0" snapToObjects="1">
      <p:cViewPr varScale="1">
        <p:scale>
          <a:sx n="90" d="100"/>
          <a:sy n="90" d="100"/>
        </p:scale>
        <p:origin x="1387" y="67"/>
      </p:cViewPr>
      <p:guideLst>
        <p:guide orient="horz" pos="278"/>
        <p:guide pos="5612"/>
        <p:guide pos="280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commentAuthors" Target="comment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mi-file\Vuosikertomukset\Neste%202016\7.%20Graafit\Graafidata\Neste%20share%20price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1" i="0" u="none" strike="noStrike" kern="1200" spc="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u="none" strike="noStrike" baseline="0" dirty="0" err="1" smtClean="0">
                <a:effectLst/>
              </a:rPr>
              <a:t>Nesteen</a:t>
            </a:r>
            <a:r>
              <a:rPr lang="en-US" sz="1400" b="1" i="0" u="none" strike="noStrike" baseline="0" dirty="0" smtClean="0">
                <a:effectLst/>
              </a:rPr>
              <a:t> </a:t>
            </a:r>
            <a:r>
              <a:rPr lang="en-US" sz="1400" b="1" i="0" u="none" strike="noStrike" baseline="0" dirty="0" err="1" smtClean="0">
                <a:effectLst/>
              </a:rPr>
              <a:t>osakkeen</a:t>
            </a:r>
            <a:r>
              <a:rPr lang="en-US" sz="1400" b="1" i="0" u="none" strike="noStrike" baseline="0" dirty="0" smtClean="0">
                <a:effectLst/>
              </a:rPr>
              <a:t> </a:t>
            </a:r>
            <a:r>
              <a:rPr lang="en-US" sz="1400" b="1" i="0" u="none" strike="noStrike" baseline="0" dirty="0" err="1" smtClean="0">
                <a:effectLst/>
              </a:rPr>
              <a:t>arvon</a:t>
            </a:r>
            <a:r>
              <a:rPr lang="en-US" sz="1400" b="1" i="0" u="none" strike="noStrike" baseline="0" dirty="0" smtClean="0">
                <a:effectLst/>
              </a:rPr>
              <a:t> </a:t>
            </a:r>
            <a:r>
              <a:rPr lang="en-US" sz="1400" b="1" i="0" u="none" strike="noStrike" baseline="0" dirty="0" err="1" smtClean="0">
                <a:effectLst/>
              </a:rPr>
              <a:t>kehitys</a:t>
            </a:r>
            <a:r>
              <a:rPr lang="fi-FI" sz="1400" b="1" dirty="0">
                <a:solidFill>
                  <a:schemeClr val="accent2"/>
                </a:solidFill>
              </a:rPr>
              <a:t/>
            </a:r>
            <a:br>
              <a:rPr lang="fi-FI" sz="1400" b="1" dirty="0">
                <a:solidFill>
                  <a:schemeClr val="accent2"/>
                </a:solidFill>
              </a:rPr>
            </a:br>
            <a:r>
              <a:rPr lang="fi-FI" sz="1400" b="1" dirty="0">
                <a:solidFill>
                  <a:schemeClr val="accent2"/>
                </a:solidFill>
              </a:rPr>
              <a:t>2012-2016, EUR</a:t>
            </a:r>
          </a:p>
        </c:rich>
      </c:tx>
      <c:layout>
        <c:manualLayout>
          <c:xMode val="edge"/>
          <c:yMode val="edge"/>
          <c:x val="9.8251324387218391E-4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1" i="0" u="none" strike="noStrike" kern="1200" spc="0" baseline="0">
              <a:solidFill>
                <a:schemeClr val="accent2"/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>
        <c:manualLayout>
          <c:layoutTarget val="inner"/>
          <c:xMode val="edge"/>
          <c:yMode val="edge"/>
          <c:x val="9.8059690877442707E-2"/>
          <c:y val="0.22872021287956401"/>
          <c:w val="0.85578944198981399"/>
          <c:h val="0.65194299091205798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Neste share price.xls]Quotes'!$A$7:$A$1260</c:f>
              <c:numCache>
                <c:formatCode>dd/mm/yyyy</c:formatCode>
                <c:ptCount val="1254"/>
                <c:pt idx="0">
                  <c:v>40910</c:v>
                </c:pt>
                <c:pt idx="1">
                  <c:v>40911</c:v>
                </c:pt>
                <c:pt idx="2">
                  <c:v>40912</c:v>
                </c:pt>
                <c:pt idx="3">
                  <c:v>40913</c:v>
                </c:pt>
                <c:pt idx="4">
                  <c:v>40917</c:v>
                </c:pt>
                <c:pt idx="5">
                  <c:v>40918</c:v>
                </c:pt>
                <c:pt idx="6">
                  <c:v>40919</c:v>
                </c:pt>
                <c:pt idx="7">
                  <c:v>40920</c:v>
                </c:pt>
                <c:pt idx="8">
                  <c:v>40921</c:v>
                </c:pt>
                <c:pt idx="9">
                  <c:v>40924</c:v>
                </c:pt>
                <c:pt idx="10">
                  <c:v>40925</c:v>
                </c:pt>
                <c:pt idx="11">
                  <c:v>40926</c:v>
                </c:pt>
                <c:pt idx="12">
                  <c:v>40927</c:v>
                </c:pt>
                <c:pt idx="13">
                  <c:v>40928</c:v>
                </c:pt>
                <c:pt idx="14">
                  <c:v>40931</c:v>
                </c:pt>
                <c:pt idx="15">
                  <c:v>40932</c:v>
                </c:pt>
                <c:pt idx="16">
                  <c:v>40933</c:v>
                </c:pt>
                <c:pt idx="17">
                  <c:v>40934</c:v>
                </c:pt>
                <c:pt idx="18">
                  <c:v>40935</c:v>
                </c:pt>
                <c:pt idx="19">
                  <c:v>40938</c:v>
                </c:pt>
                <c:pt idx="20">
                  <c:v>40939</c:v>
                </c:pt>
                <c:pt idx="21">
                  <c:v>40940</c:v>
                </c:pt>
                <c:pt idx="22">
                  <c:v>40941</c:v>
                </c:pt>
                <c:pt idx="23">
                  <c:v>40942</c:v>
                </c:pt>
                <c:pt idx="24">
                  <c:v>40945</c:v>
                </c:pt>
                <c:pt idx="25">
                  <c:v>40946</c:v>
                </c:pt>
                <c:pt idx="26">
                  <c:v>40947</c:v>
                </c:pt>
                <c:pt idx="27">
                  <c:v>40948</c:v>
                </c:pt>
                <c:pt idx="28">
                  <c:v>40949</c:v>
                </c:pt>
                <c:pt idx="29">
                  <c:v>40952</c:v>
                </c:pt>
                <c:pt idx="30">
                  <c:v>40953</c:v>
                </c:pt>
                <c:pt idx="31">
                  <c:v>40954</c:v>
                </c:pt>
                <c:pt idx="32">
                  <c:v>40955</c:v>
                </c:pt>
                <c:pt idx="33">
                  <c:v>40956</c:v>
                </c:pt>
                <c:pt idx="34">
                  <c:v>40959</c:v>
                </c:pt>
                <c:pt idx="35">
                  <c:v>40960</c:v>
                </c:pt>
                <c:pt idx="36">
                  <c:v>40961</c:v>
                </c:pt>
                <c:pt idx="37">
                  <c:v>40962</c:v>
                </c:pt>
                <c:pt idx="38">
                  <c:v>40963</c:v>
                </c:pt>
                <c:pt idx="39">
                  <c:v>40966</c:v>
                </c:pt>
                <c:pt idx="40">
                  <c:v>40967</c:v>
                </c:pt>
                <c:pt idx="41">
                  <c:v>40968</c:v>
                </c:pt>
                <c:pt idx="42">
                  <c:v>40969</c:v>
                </c:pt>
                <c:pt idx="43">
                  <c:v>40970</c:v>
                </c:pt>
                <c:pt idx="44">
                  <c:v>40973</c:v>
                </c:pt>
                <c:pt idx="45">
                  <c:v>40974</c:v>
                </c:pt>
                <c:pt idx="46">
                  <c:v>40975</c:v>
                </c:pt>
                <c:pt idx="47">
                  <c:v>40976</c:v>
                </c:pt>
                <c:pt idx="48">
                  <c:v>40977</c:v>
                </c:pt>
                <c:pt idx="49">
                  <c:v>40980</c:v>
                </c:pt>
                <c:pt idx="50">
                  <c:v>40981</c:v>
                </c:pt>
                <c:pt idx="51">
                  <c:v>40982</c:v>
                </c:pt>
                <c:pt idx="52">
                  <c:v>40983</c:v>
                </c:pt>
                <c:pt idx="53">
                  <c:v>40984</c:v>
                </c:pt>
                <c:pt idx="54">
                  <c:v>40987</c:v>
                </c:pt>
                <c:pt idx="55">
                  <c:v>40988</c:v>
                </c:pt>
                <c:pt idx="56">
                  <c:v>40989</c:v>
                </c:pt>
                <c:pt idx="57">
                  <c:v>40990</c:v>
                </c:pt>
                <c:pt idx="58">
                  <c:v>40991</c:v>
                </c:pt>
                <c:pt idx="59">
                  <c:v>40994</c:v>
                </c:pt>
                <c:pt idx="60">
                  <c:v>40995</c:v>
                </c:pt>
                <c:pt idx="61">
                  <c:v>40996</c:v>
                </c:pt>
                <c:pt idx="62">
                  <c:v>40997</c:v>
                </c:pt>
                <c:pt idx="63">
                  <c:v>40998</c:v>
                </c:pt>
                <c:pt idx="64">
                  <c:v>41001</c:v>
                </c:pt>
                <c:pt idx="65">
                  <c:v>41002</c:v>
                </c:pt>
                <c:pt idx="66">
                  <c:v>41003</c:v>
                </c:pt>
                <c:pt idx="67">
                  <c:v>41004</c:v>
                </c:pt>
                <c:pt idx="68">
                  <c:v>41009</c:v>
                </c:pt>
                <c:pt idx="69">
                  <c:v>41010</c:v>
                </c:pt>
                <c:pt idx="70">
                  <c:v>41011</c:v>
                </c:pt>
                <c:pt idx="71">
                  <c:v>41012</c:v>
                </c:pt>
                <c:pt idx="72">
                  <c:v>41015</c:v>
                </c:pt>
                <c:pt idx="73">
                  <c:v>41016</c:v>
                </c:pt>
                <c:pt idx="74">
                  <c:v>41017</c:v>
                </c:pt>
                <c:pt idx="75">
                  <c:v>41018</c:v>
                </c:pt>
                <c:pt idx="76">
                  <c:v>41019</c:v>
                </c:pt>
                <c:pt idx="77">
                  <c:v>41022</c:v>
                </c:pt>
                <c:pt idx="78">
                  <c:v>41023</c:v>
                </c:pt>
                <c:pt idx="79">
                  <c:v>41024</c:v>
                </c:pt>
                <c:pt idx="80">
                  <c:v>41025</c:v>
                </c:pt>
                <c:pt idx="81">
                  <c:v>41026</c:v>
                </c:pt>
                <c:pt idx="82">
                  <c:v>41029</c:v>
                </c:pt>
                <c:pt idx="83">
                  <c:v>41031</c:v>
                </c:pt>
                <c:pt idx="84">
                  <c:v>41032</c:v>
                </c:pt>
                <c:pt idx="85">
                  <c:v>41033</c:v>
                </c:pt>
                <c:pt idx="86">
                  <c:v>41036</c:v>
                </c:pt>
                <c:pt idx="87">
                  <c:v>41037</c:v>
                </c:pt>
                <c:pt idx="88">
                  <c:v>41038</c:v>
                </c:pt>
                <c:pt idx="89">
                  <c:v>41039</c:v>
                </c:pt>
                <c:pt idx="90">
                  <c:v>41040</c:v>
                </c:pt>
                <c:pt idx="91">
                  <c:v>41043</c:v>
                </c:pt>
                <c:pt idx="92">
                  <c:v>41044</c:v>
                </c:pt>
                <c:pt idx="93">
                  <c:v>41045</c:v>
                </c:pt>
                <c:pt idx="94">
                  <c:v>41047</c:v>
                </c:pt>
                <c:pt idx="95">
                  <c:v>41050</c:v>
                </c:pt>
                <c:pt idx="96">
                  <c:v>41051</c:v>
                </c:pt>
                <c:pt idx="97">
                  <c:v>41052</c:v>
                </c:pt>
                <c:pt idx="98">
                  <c:v>41053</c:v>
                </c:pt>
                <c:pt idx="99">
                  <c:v>41054</c:v>
                </c:pt>
                <c:pt idx="100">
                  <c:v>41057</c:v>
                </c:pt>
                <c:pt idx="101">
                  <c:v>41058</c:v>
                </c:pt>
                <c:pt idx="102">
                  <c:v>41059</c:v>
                </c:pt>
                <c:pt idx="103">
                  <c:v>41060</c:v>
                </c:pt>
                <c:pt idx="104">
                  <c:v>41061</c:v>
                </c:pt>
                <c:pt idx="105">
                  <c:v>41064</c:v>
                </c:pt>
                <c:pt idx="106">
                  <c:v>41065</c:v>
                </c:pt>
                <c:pt idx="107">
                  <c:v>41066</c:v>
                </c:pt>
                <c:pt idx="108">
                  <c:v>41067</c:v>
                </c:pt>
                <c:pt idx="109">
                  <c:v>41068</c:v>
                </c:pt>
                <c:pt idx="110">
                  <c:v>41071</c:v>
                </c:pt>
                <c:pt idx="111">
                  <c:v>41072</c:v>
                </c:pt>
                <c:pt idx="112">
                  <c:v>41073</c:v>
                </c:pt>
                <c:pt idx="113">
                  <c:v>41074</c:v>
                </c:pt>
                <c:pt idx="114">
                  <c:v>41075</c:v>
                </c:pt>
                <c:pt idx="115">
                  <c:v>41078</c:v>
                </c:pt>
                <c:pt idx="116">
                  <c:v>41079</c:v>
                </c:pt>
                <c:pt idx="117">
                  <c:v>41080</c:v>
                </c:pt>
                <c:pt idx="118">
                  <c:v>41081</c:v>
                </c:pt>
                <c:pt idx="119">
                  <c:v>41085</c:v>
                </c:pt>
                <c:pt idx="120">
                  <c:v>41086</c:v>
                </c:pt>
                <c:pt idx="121">
                  <c:v>41087</c:v>
                </c:pt>
                <c:pt idx="122">
                  <c:v>41088</c:v>
                </c:pt>
                <c:pt idx="123">
                  <c:v>41089</c:v>
                </c:pt>
                <c:pt idx="124">
                  <c:v>41092</c:v>
                </c:pt>
                <c:pt idx="125">
                  <c:v>41093</c:v>
                </c:pt>
                <c:pt idx="126">
                  <c:v>41094</c:v>
                </c:pt>
                <c:pt idx="127">
                  <c:v>41095</c:v>
                </c:pt>
                <c:pt idx="128">
                  <c:v>41096</c:v>
                </c:pt>
                <c:pt idx="129">
                  <c:v>41099</c:v>
                </c:pt>
                <c:pt idx="130">
                  <c:v>41100</c:v>
                </c:pt>
                <c:pt idx="131">
                  <c:v>41101</c:v>
                </c:pt>
                <c:pt idx="132">
                  <c:v>41102</c:v>
                </c:pt>
                <c:pt idx="133">
                  <c:v>41103</c:v>
                </c:pt>
                <c:pt idx="134">
                  <c:v>41106</c:v>
                </c:pt>
                <c:pt idx="135">
                  <c:v>41107</c:v>
                </c:pt>
                <c:pt idx="136">
                  <c:v>41108</c:v>
                </c:pt>
                <c:pt idx="137">
                  <c:v>41109</c:v>
                </c:pt>
                <c:pt idx="138">
                  <c:v>41110</c:v>
                </c:pt>
                <c:pt idx="139">
                  <c:v>41113</c:v>
                </c:pt>
                <c:pt idx="140">
                  <c:v>41114</c:v>
                </c:pt>
                <c:pt idx="141">
                  <c:v>41115</c:v>
                </c:pt>
                <c:pt idx="142">
                  <c:v>41116</c:v>
                </c:pt>
                <c:pt idx="143">
                  <c:v>41117</c:v>
                </c:pt>
                <c:pt idx="144">
                  <c:v>41120</c:v>
                </c:pt>
                <c:pt idx="145">
                  <c:v>41121</c:v>
                </c:pt>
                <c:pt idx="146">
                  <c:v>41122</c:v>
                </c:pt>
                <c:pt idx="147">
                  <c:v>41123</c:v>
                </c:pt>
                <c:pt idx="148">
                  <c:v>41124</c:v>
                </c:pt>
                <c:pt idx="149">
                  <c:v>41127</c:v>
                </c:pt>
                <c:pt idx="150">
                  <c:v>41128</c:v>
                </c:pt>
                <c:pt idx="151">
                  <c:v>41129</c:v>
                </c:pt>
                <c:pt idx="152">
                  <c:v>41130</c:v>
                </c:pt>
                <c:pt idx="153">
                  <c:v>41131</c:v>
                </c:pt>
                <c:pt idx="154">
                  <c:v>41134</c:v>
                </c:pt>
                <c:pt idx="155">
                  <c:v>41135</c:v>
                </c:pt>
                <c:pt idx="156">
                  <c:v>41136</c:v>
                </c:pt>
                <c:pt idx="157">
                  <c:v>41137</c:v>
                </c:pt>
                <c:pt idx="158">
                  <c:v>41138</c:v>
                </c:pt>
                <c:pt idx="159">
                  <c:v>41141</c:v>
                </c:pt>
                <c:pt idx="160">
                  <c:v>41142</c:v>
                </c:pt>
                <c:pt idx="161">
                  <c:v>41143</c:v>
                </c:pt>
                <c:pt idx="162">
                  <c:v>41144</c:v>
                </c:pt>
                <c:pt idx="163">
                  <c:v>41145</c:v>
                </c:pt>
                <c:pt idx="164">
                  <c:v>41148</c:v>
                </c:pt>
                <c:pt idx="165">
                  <c:v>41149</c:v>
                </c:pt>
                <c:pt idx="166">
                  <c:v>41150</c:v>
                </c:pt>
                <c:pt idx="167">
                  <c:v>41151</c:v>
                </c:pt>
                <c:pt idx="168">
                  <c:v>41152</c:v>
                </c:pt>
                <c:pt idx="169">
                  <c:v>41155</c:v>
                </c:pt>
                <c:pt idx="170">
                  <c:v>41156</c:v>
                </c:pt>
                <c:pt idx="171">
                  <c:v>41157</c:v>
                </c:pt>
                <c:pt idx="172">
                  <c:v>41158</c:v>
                </c:pt>
                <c:pt idx="173">
                  <c:v>41159</c:v>
                </c:pt>
                <c:pt idx="174">
                  <c:v>41162</c:v>
                </c:pt>
                <c:pt idx="175">
                  <c:v>41163</c:v>
                </c:pt>
                <c:pt idx="176">
                  <c:v>41164</c:v>
                </c:pt>
                <c:pt idx="177">
                  <c:v>41165</c:v>
                </c:pt>
                <c:pt idx="178">
                  <c:v>41166</c:v>
                </c:pt>
                <c:pt idx="179">
                  <c:v>41169</c:v>
                </c:pt>
                <c:pt idx="180">
                  <c:v>41170</c:v>
                </c:pt>
                <c:pt idx="181">
                  <c:v>41171</c:v>
                </c:pt>
                <c:pt idx="182">
                  <c:v>41172</c:v>
                </c:pt>
                <c:pt idx="183">
                  <c:v>41173</c:v>
                </c:pt>
                <c:pt idx="184">
                  <c:v>41176</c:v>
                </c:pt>
                <c:pt idx="185">
                  <c:v>41177</c:v>
                </c:pt>
                <c:pt idx="186">
                  <c:v>41178</c:v>
                </c:pt>
                <c:pt idx="187">
                  <c:v>41179</c:v>
                </c:pt>
                <c:pt idx="188">
                  <c:v>41180</c:v>
                </c:pt>
                <c:pt idx="189">
                  <c:v>41183</c:v>
                </c:pt>
                <c:pt idx="190">
                  <c:v>41184</c:v>
                </c:pt>
                <c:pt idx="191">
                  <c:v>41185</c:v>
                </c:pt>
                <c:pt idx="192">
                  <c:v>41186</c:v>
                </c:pt>
                <c:pt idx="193">
                  <c:v>41187</c:v>
                </c:pt>
                <c:pt idx="194">
                  <c:v>41190</c:v>
                </c:pt>
                <c:pt idx="195">
                  <c:v>41191</c:v>
                </c:pt>
                <c:pt idx="196">
                  <c:v>41192</c:v>
                </c:pt>
                <c:pt idx="197">
                  <c:v>41193</c:v>
                </c:pt>
                <c:pt idx="198">
                  <c:v>41194</c:v>
                </c:pt>
                <c:pt idx="199">
                  <c:v>41197</c:v>
                </c:pt>
                <c:pt idx="200">
                  <c:v>41198</c:v>
                </c:pt>
                <c:pt idx="201">
                  <c:v>41199</c:v>
                </c:pt>
                <c:pt idx="202">
                  <c:v>41200</c:v>
                </c:pt>
                <c:pt idx="203">
                  <c:v>41201</c:v>
                </c:pt>
                <c:pt idx="204">
                  <c:v>41204</c:v>
                </c:pt>
                <c:pt idx="205">
                  <c:v>41205</c:v>
                </c:pt>
                <c:pt idx="206">
                  <c:v>41206</c:v>
                </c:pt>
                <c:pt idx="207">
                  <c:v>41207</c:v>
                </c:pt>
                <c:pt idx="208">
                  <c:v>41208</c:v>
                </c:pt>
                <c:pt idx="209">
                  <c:v>41211</c:v>
                </c:pt>
                <c:pt idx="210">
                  <c:v>41212</c:v>
                </c:pt>
                <c:pt idx="211">
                  <c:v>41213</c:v>
                </c:pt>
                <c:pt idx="212">
                  <c:v>41214</c:v>
                </c:pt>
                <c:pt idx="213">
                  <c:v>41215</c:v>
                </c:pt>
                <c:pt idx="214">
                  <c:v>41218</c:v>
                </c:pt>
                <c:pt idx="215">
                  <c:v>41219</c:v>
                </c:pt>
                <c:pt idx="216">
                  <c:v>41220</c:v>
                </c:pt>
                <c:pt idx="217">
                  <c:v>41221</c:v>
                </c:pt>
                <c:pt idx="218">
                  <c:v>41222</c:v>
                </c:pt>
                <c:pt idx="219">
                  <c:v>41225</c:v>
                </c:pt>
                <c:pt idx="220">
                  <c:v>41226</c:v>
                </c:pt>
                <c:pt idx="221">
                  <c:v>41227</c:v>
                </c:pt>
                <c:pt idx="222">
                  <c:v>41228</c:v>
                </c:pt>
                <c:pt idx="223">
                  <c:v>41229</c:v>
                </c:pt>
                <c:pt idx="224">
                  <c:v>41232</c:v>
                </c:pt>
                <c:pt idx="225">
                  <c:v>41233</c:v>
                </c:pt>
                <c:pt idx="226">
                  <c:v>41234</c:v>
                </c:pt>
                <c:pt idx="227">
                  <c:v>41235</c:v>
                </c:pt>
                <c:pt idx="228">
                  <c:v>41236</c:v>
                </c:pt>
                <c:pt idx="229">
                  <c:v>41239</c:v>
                </c:pt>
                <c:pt idx="230">
                  <c:v>41240</c:v>
                </c:pt>
                <c:pt idx="231">
                  <c:v>41241</c:v>
                </c:pt>
                <c:pt idx="232">
                  <c:v>41242</c:v>
                </c:pt>
                <c:pt idx="233">
                  <c:v>41243</c:v>
                </c:pt>
                <c:pt idx="234">
                  <c:v>41246</c:v>
                </c:pt>
                <c:pt idx="235">
                  <c:v>41247</c:v>
                </c:pt>
                <c:pt idx="236">
                  <c:v>41248</c:v>
                </c:pt>
                <c:pt idx="237">
                  <c:v>41250</c:v>
                </c:pt>
                <c:pt idx="238">
                  <c:v>41253</c:v>
                </c:pt>
                <c:pt idx="239">
                  <c:v>41254</c:v>
                </c:pt>
                <c:pt idx="240">
                  <c:v>41255</c:v>
                </c:pt>
                <c:pt idx="241">
                  <c:v>41256</c:v>
                </c:pt>
                <c:pt idx="242">
                  <c:v>41257</c:v>
                </c:pt>
                <c:pt idx="243">
                  <c:v>41260</c:v>
                </c:pt>
                <c:pt idx="244">
                  <c:v>41261</c:v>
                </c:pt>
                <c:pt idx="245">
                  <c:v>41262</c:v>
                </c:pt>
                <c:pt idx="246">
                  <c:v>41263</c:v>
                </c:pt>
                <c:pt idx="247">
                  <c:v>41264</c:v>
                </c:pt>
                <c:pt idx="248">
                  <c:v>41270</c:v>
                </c:pt>
                <c:pt idx="249">
                  <c:v>41271</c:v>
                </c:pt>
                <c:pt idx="250">
                  <c:v>41276</c:v>
                </c:pt>
                <c:pt idx="251">
                  <c:v>41277</c:v>
                </c:pt>
                <c:pt idx="252">
                  <c:v>41278</c:v>
                </c:pt>
                <c:pt idx="253">
                  <c:v>41281</c:v>
                </c:pt>
                <c:pt idx="254">
                  <c:v>41282</c:v>
                </c:pt>
                <c:pt idx="255">
                  <c:v>41283</c:v>
                </c:pt>
                <c:pt idx="256">
                  <c:v>41284</c:v>
                </c:pt>
                <c:pt idx="257">
                  <c:v>41285</c:v>
                </c:pt>
                <c:pt idx="258">
                  <c:v>41288</c:v>
                </c:pt>
                <c:pt idx="259">
                  <c:v>41289</c:v>
                </c:pt>
                <c:pt idx="260">
                  <c:v>41290</c:v>
                </c:pt>
                <c:pt idx="261">
                  <c:v>41291</c:v>
                </c:pt>
                <c:pt idx="262">
                  <c:v>41292</c:v>
                </c:pt>
                <c:pt idx="263">
                  <c:v>41295</c:v>
                </c:pt>
                <c:pt idx="264">
                  <c:v>41296</c:v>
                </c:pt>
                <c:pt idx="265">
                  <c:v>41297</c:v>
                </c:pt>
                <c:pt idx="266">
                  <c:v>41298</c:v>
                </c:pt>
                <c:pt idx="267">
                  <c:v>41299</c:v>
                </c:pt>
                <c:pt idx="268">
                  <c:v>41302</c:v>
                </c:pt>
                <c:pt idx="269">
                  <c:v>41303</c:v>
                </c:pt>
                <c:pt idx="270">
                  <c:v>41304</c:v>
                </c:pt>
                <c:pt idx="271">
                  <c:v>41305</c:v>
                </c:pt>
                <c:pt idx="272">
                  <c:v>41306</c:v>
                </c:pt>
                <c:pt idx="273">
                  <c:v>41309</c:v>
                </c:pt>
                <c:pt idx="274">
                  <c:v>41310</c:v>
                </c:pt>
                <c:pt idx="275">
                  <c:v>41311</c:v>
                </c:pt>
                <c:pt idx="276">
                  <c:v>41312</c:v>
                </c:pt>
                <c:pt idx="277">
                  <c:v>41313</c:v>
                </c:pt>
                <c:pt idx="278">
                  <c:v>41316</c:v>
                </c:pt>
                <c:pt idx="279">
                  <c:v>41317</c:v>
                </c:pt>
                <c:pt idx="280">
                  <c:v>41318</c:v>
                </c:pt>
                <c:pt idx="281">
                  <c:v>41319</c:v>
                </c:pt>
                <c:pt idx="282">
                  <c:v>41320</c:v>
                </c:pt>
                <c:pt idx="283">
                  <c:v>41323</c:v>
                </c:pt>
                <c:pt idx="284">
                  <c:v>41324</c:v>
                </c:pt>
                <c:pt idx="285">
                  <c:v>41325</c:v>
                </c:pt>
                <c:pt idx="286">
                  <c:v>41326</c:v>
                </c:pt>
                <c:pt idx="287">
                  <c:v>41327</c:v>
                </c:pt>
                <c:pt idx="288">
                  <c:v>41330</c:v>
                </c:pt>
                <c:pt idx="289">
                  <c:v>41331</c:v>
                </c:pt>
                <c:pt idx="290">
                  <c:v>41332</c:v>
                </c:pt>
                <c:pt idx="291">
                  <c:v>41333</c:v>
                </c:pt>
                <c:pt idx="292">
                  <c:v>41334</c:v>
                </c:pt>
                <c:pt idx="293">
                  <c:v>41337</c:v>
                </c:pt>
                <c:pt idx="294">
                  <c:v>41338</c:v>
                </c:pt>
                <c:pt idx="295">
                  <c:v>41339</c:v>
                </c:pt>
                <c:pt idx="296">
                  <c:v>41340</c:v>
                </c:pt>
                <c:pt idx="297">
                  <c:v>41341</c:v>
                </c:pt>
                <c:pt idx="298">
                  <c:v>41344</c:v>
                </c:pt>
                <c:pt idx="299">
                  <c:v>41345</c:v>
                </c:pt>
                <c:pt idx="300">
                  <c:v>41346</c:v>
                </c:pt>
                <c:pt idx="301">
                  <c:v>41347</c:v>
                </c:pt>
                <c:pt idx="302">
                  <c:v>41348</c:v>
                </c:pt>
                <c:pt idx="303">
                  <c:v>41351</c:v>
                </c:pt>
                <c:pt idx="304">
                  <c:v>41352</c:v>
                </c:pt>
                <c:pt idx="305">
                  <c:v>41353</c:v>
                </c:pt>
                <c:pt idx="306">
                  <c:v>41354</c:v>
                </c:pt>
                <c:pt idx="307">
                  <c:v>41355</c:v>
                </c:pt>
                <c:pt idx="308">
                  <c:v>41358</c:v>
                </c:pt>
                <c:pt idx="309">
                  <c:v>41359</c:v>
                </c:pt>
                <c:pt idx="310">
                  <c:v>41360</c:v>
                </c:pt>
                <c:pt idx="311">
                  <c:v>41361</c:v>
                </c:pt>
                <c:pt idx="312">
                  <c:v>41366</c:v>
                </c:pt>
                <c:pt idx="313">
                  <c:v>41367</c:v>
                </c:pt>
                <c:pt idx="314">
                  <c:v>41368</c:v>
                </c:pt>
                <c:pt idx="315">
                  <c:v>41369</c:v>
                </c:pt>
                <c:pt idx="316">
                  <c:v>41372</c:v>
                </c:pt>
                <c:pt idx="317">
                  <c:v>41373</c:v>
                </c:pt>
                <c:pt idx="318">
                  <c:v>41374</c:v>
                </c:pt>
                <c:pt idx="319">
                  <c:v>41375</c:v>
                </c:pt>
                <c:pt idx="320">
                  <c:v>41376</c:v>
                </c:pt>
                <c:pt idx="321">
                  <c:v>41379</c:v>
                </c:pt>
                <c:pt idx="322">
                  <c:v>41380</c:v>
                </c:pt>
                <c:pt idx="323">
                  <c:v>41381</c:v>
                </c:pt>
                <c:pt idx="324">
                  <c:v>41382</c:v>
                </c:pt>
                <c:pt idx="325">
                  <c:v>41383</c:v>
                </c:pt>
                <c:pt idx="326">
                  <c:v>41386</c:v>
                </c:pt>
                <c:pt idx="327">
                  <c:v>41387</c:v>
                </c:pt>
                <c:pt idx="328">
                  <c:v>41388</c:v>
                </c:pt>
                <c:pt idx="329">
                  <c:v>41389</c:v>
                </c:pt>
                <c:pt idx="330">
                  <c:v>41390</c:v>
                </c:pt>
                <c:pt idx="331">
                  <c:v>41393</c:v>
                </c:pt>
                <c:pt idx="332">
                  <c:v>41394</c:v>
                </c:pt>
                <c:pt idx="333">
                  <c:v>41396</c:v>
                </c:pt>
                <c:pt idx="334">
                  <c:v>41397</c:v>
                </c:pt>
                <c:pt idx="335">
                  <c:v>41400</c:v>
                </c:pt>
                <c:pt idx="336">
                  <c:v>41401</c:v>
                </c:pt>
                <c:pt idx="337">
                  <c:v>41402</c:v>
                </c:pt>
                <c:pt idx="338">
                  <c:v>41404</c:v>
                </c:pt>
                <c:pt idx="339">
                  <c:v>41407</c:v>
                </c:pt>
                <c:pt idx="340">
                  <c:v>41408</c:v>
                </c:pt>
                <c:pt idx="341">
                  <c:v>41409</c:v>
                </c:pt>
                <c:pt idx="342">
                  <c:v>41410</c:v>
                </c:pt>
                <c:pt idx="343">
                  <c:v>41411</c:v>
                </c:pt>
                <c:pt idx="344">
                  <c:v>41414</c:v>
                </c:pt>
                <c:pt idx="345">
                  <c:v>41415</c:v>
                </c:pt>
                <c:pt idx="346">
                  <c:v>41416</c:v>
                </c:pt>
                <c:pt idx="347">
                  <c:v>41417</c:v>
                </c:pt>
                <c:pt idx="348">
                  <c:v>41418</c:v>
                </c:pt>
                <c:pt idx="349">
                  <c:v>41421</c:v>
                </c:pt>
                <c:pt idx="350">
                  <c:v>41422</c:v>
                </c:pt>
                <c:pt idx="351">
                  <c:v>41423</c:v>
                </c:pt>
                <c:pt idx="352">
                  <c:v>41424</c:v>
                </c:pt>
                <c:pt idx="353">
                  <c:v>41425</c:v>
                </c:pt>
                <c:pt idx="354">
                  <c:v>41428</c:v>
                </c:pt>
                <c:pt idx="355">
                  <c:v>41429</c:v>
                </c:pt>
                <c:pt idx="356">
                  <c:v>41430</c:v>
                </c:pt>
                <c:pt idx="357">
                  <c:v>41431</c:v>
                </c:pt>
                <c:pt idx="358">
                  <c:v>41432</c:v>
                </c:pt>
                <c:pt idx="359">
                  <c:v>41435</c:v>
                </c:pt>
                <c:pt idx="360">
                  <c:v>41436</c:v>
                </c:pt>
                <c:pt idx="361">
                  <c:v>41437</c:v>
                </c:pt>
                <c:pt idx="362">
                  <c:v>41438</c:v>
                </c:pt>
                <c:pt idx="363">
                  <c:v>41439</c:v>
                </c:pt>
                <c:pt idx="364">
                  <c:v>41442</c:v>
                </c:pt>
                <c:pt idx="365">
                  <c:v>41443</c:v>
                </c:pt>
                <c:pt idx="366">
                  <c:v>41444</c:v>
                </c:pt>
                <c:pt idx="367">
                  <c:v>41445</c:v>
                </c:pt>
                <c:pt idx="368">
                  <c:v>41449</c:v>
                </c:pt>
                <c:pt idx="369">
                  <c:v>41450</c:v>
                </c:pt>
                <c:pt idx="370">
                  <c:v>41451</c:v>
                </c:pt>
                <c:pt idx="371">
                  <c:v>41452</c:v>
                </c:pt>
                <c:pt idx="372">
                  <c:v>41453</c:v>
                </c:pt>
                <c:pt idx="373">
                  <c:v>41456</c:v>
                </c:pt>
                <c:pt idx="374">
                  <c:v>41457</c:v>
                </c:pt>
                <c:pt idx="375">
                  <c:v>41458</c:v>
                </c:pt>
                <c:pt idx="376">
                  <c:v>41459</c:v>
                </c:pt>
                <c:pt idx="377">
                  <c:v>41460</c:v>
                </c:pt>
                <c:pt idx="378">
                  <c:v>41463</c:v>
                </c:pt>
                <c:pt idx="379">
                  <c:v>41464</c:v>
                </c:pt>
                <c:pt idx="380">
                  <c:v>41465</c:v>
                </c:pt>
                <c:pt idx="381">
                  <c:v>41466</c:v>
                </c:pt>
                <c:pt idx="382">
                  <c:v>41467</c:v>
                </c:pt>
                <c:pt idx="383">
                  <c:v>41470</c:v>
                </c:pt>
                <c:pt idx="384">
                  <c:v>41471</c:v>
                </c:pt>
                <c:pt idx="385">
                  <c:v>41472</c:v>
                </c:pt>
                <c:pt idx="386">
                  <c:v>41473</c:v>
                </c:pt>
                <c:pt idx="387">
                  <c:v>41474</c:v>
                </c:pt>
                <c:pt idx="388">
                  <c:v>41477</c:v>
                </c:pt>
                <c:pt idx="389">
                  <c:v>41478</c:v>
                </c:pt>
                <c:pt idx="390">
                  <c:v>41479</c:v>
                </c:pt>
                <c:pt idx="391">
                  <c:v>41480</c:v>
                </c:pt>
                <c:pt idx="392">
                  <c:v>41481</c:v>
                </c:pt>
                <c:pt idx="393">
                  <c:v>41484</c:v>
                </c:pt>
                <c:pt idx="394">
                  <c:v>41485</c:v>
                </c:pt>
                <c:pt idx="395">
                  <c:v>41486</c:v>
                </c:pt>
                <c:pt idx="396">
                  <c:v>41487</c:v>
                </c:pt>
                <c:pt idx="397">
                  <c:v>41488</c:v>
                </c:pt>
                <c:pt idx="398">
                  <c:v>41491</c:v>
                </c:pt>
                <c:pt idx="399">
                  <c:v>41492</c:v>
                </c:pt>
                <c:pt idx="400">
                  <c:v>41493</c:v>
                </c:pt>
                <c:pt idx="401">
                  <c:v>41494</c:v>
                </c:pt>
                <c:pt idx="402">
                  <c:v>41495</c:v>
                </c:pt>
                <c:pt idx="403">
                  <c:v>41498</c:v>
                </c:pt>
                <c:pt idx="404">
                  <c:v>41499</c:v>
                </c:pt>
                <c:pt idx="405">
                  <c:v>41500</c:v>
                </c:pt>
                <c:pt idx="406">
                  <c:v>41501</c:v>
                </c:pt>
                <c:pt idx="407">
                  <c:v>41502</c:v>
                </c:pt>
                <c:pt idx="408">
                  <c:v>41505</c:v>
                </c:pt>
                <c:pt idx="409">
                  <c:v>41506</c:v>
                </c:pt>
                <c:pt idx="410">
                  <c:v>41507</c:v>
                </c:pt>
                <c:pt idx="411">
                  <c:v>41508</c:v>
                </c:pt>
                <c:pt idx="412">
                  <c:v>41509</c:v>
                </c:pt>
                <c:pt idx="413">
                  <c:v>41512</c:v>
                </c:pt>
                <c:pt idx="414">
                  <c:v>41513</c:v>
                </c:pt>
                <c:pt idx="415">
                  <c:v>41514</c:v>
                </c:pt>
                <c:pt idx="416">
                  <c:v>41515</c:v>
                </c:pt>
                <c:pt idx="417">
                  <c:v>41516</c:v>
                </c:pt>
                <c:pt idx="418">
                  <c:v>41519</c:v>
                </c:pt>
                <c:pt idx="419">
                  <c:v>41520</c:v>
                </c:pt>
                <c:pt idx="420">
                  <c:v>41521</c:v>
                </c:pt>
                <c:pt idx="421">
                  <c:v>41522</c:v>
                </c:pt>
                <c:pt idx="422">
                  <c:v>41523</c:v>
                </c:pt>
                <c:pt idx="423">
                  <c:v>41526</c:v>
                </c:pt>
                <c:pt idx="424">
                  <c:v>41527</c:v>
                </c:pt>
                <c:pt idx="425">
                  <c:v>41528</c:v>
                </c:pt>
                <c:pt idx="426">
                  <c:v>41529</c:v>
                </c:pt>
                <c:pt idx="427">
                  <c:v>41530</c:v>
                </c:pt>
                <c:pt idx="428">
                  <c:v>41533</c:v>
                </c:pt>
                <c:pt idx="429">
                  <c:v>41534</c:v>
                </c:pt>
                <c:pt idx="430">
                  <c:v>41535</c:v>
                </c:pt>
                <c:pt idx="431">
                  <c:v>41536</c:v>
                </c:pt>
                <c:pt idx="432">
                  <c:v>41537</c:v>
                </c:pt>
                <c:pt idx="433">
                  <c:v>41540</c:v>
                </c:pt>
                <c:pt idx="434">
                  <c:v>41541</c:v>
                </c:pt>
                <c:pt idx="435">
                  <c:v>41542</c:v>
                </c:pt>
                <c:pt idx="436">
                  <c:v>41543</c:v>
                </c:pt>
                <c:pt idx="437">
                  <c:v>41544</c:v>
                </c:pt>
                <c:pt idx="438">
                  <c:v>41547</c:v>
                </c:pt>
                <c:pt idx="439">
                  <c:v>41548</c:v>
                </c:pt>
                <c:pt idx="440">
                  <c:v>41549</c:v>
                </c:pt>
                <c:pt idx="441">
                  <c:v>41550</c:v>
                </c:pt>
                <c:pt idx="442">
                  <c:v>41551</c:v>
                </c:pt>
                <c:pt idx="443">
                  <c:v>41554</c:v>
                </c:pt>
                <c:pt idx="444">
                  <c:v>41555</c:v>
                </c:pt>
                <c:pt idx="445">
                  <c:v>41556</c:v>
                </c:pt>
                <c:pt idx="446">
                  <c:v>41557</c:v>
                </c:pt>
                <c:pt idx="447">
                  <c:v>41558</c:v>
                </c:pt>
                <c:pt idx="448">
                  <c:v>41561</c:v>
                </c:pt>
                <c:pt idx="449">
                  <c:v>41562</c:v>
                </c:pt>
                <c:pt idx="450">
                  <c:v>41563</c:v>
                </c:pt>
                <c:pt idx="451">
                  <c:v>41564</c:v>
                </c:pt>
                <c:pt idx="452">
                  <c:v>41565</c:v>
                </c:pt>
                <c:pt idx="453">
                  <c:v>41568</c:v>
                </c:pt>
                <c:pt idx="454">
                  <c:v>41569</c:v>
                </c:pt>
                <c:pt idx="455">
                  <c:v>41570</c:v>
                </c:pt>
                <c:pt idx="456">
                  <c:v>41571</c:v>
                </c:pt>
                <c:pt idx="457">
                  <c:v>41572</c:v>
                </c:pt>
                <c:pt idx="458">
                  <c:v>41575</c:v>
                </c:pt>
                <c:pt idx="459">
                  <c:v>41576</c:v>
                </c:pt>
                <c:pt idx="460">
                  <c:v>41577</c:v>
                </c:pt>
                <c:pt idx="461">
                  <c:v>41578</c:v>
                </c:pt>
                <c:pt idx="462">
                  <c:v>41579</c:v>
                </c:pt>
                <c:pt idx="463">
                  <c:v>41582</c:v>
                </c:pt>
                <c:pt idx="464">
                  <c:v>41583</c:v>
                </c:pt>
                <c:pt idx="465">
                  <c:v>41584</c:v>
                </c:pt>
                <c:pt idx="466">
                  <c:v>41585</c:v>
                </c:pt>
                <c:pt idx="467">
                  <c:v>41586</c:v>
                </c:pt>
                <c:pt idx="468">
                  <c:v>41589</c:v>
                </c:pt>
                <c:pt idx="469">
                  <c:v>41590</c:v>
                </c:pt>
                <c:pt idx="470">
                  <c:v>41591</c:v>
                </c:pt>
                <c:pt idx="471">
                  <c:v>41592</c:v>
                </c:pt>
                <c:pt idx="472">
                  <c:v>41593</c:v>
                </c:pt>
                <c:pt idx="473">
                  <c:v>41596</c:v>
                </c:pt>
                <c:pt idx="474">
                  <c:v>41597</c:v>
                </c:pt>
                <c:pt idx="475">
                  <c:v>41598</c:v>
                </c:pt>
                <c:pt idx="476">
                  <c:v>41599</c:v>
                </c:pt>
                <c:pt idx="477">
                  <c:v>41600</c:v>
                </c:pt>
                <c:pt idx="478">
                  <c:v>41603</c:v>
                </c:pt>
                <c:pt idx="479">
                  <c:v>41604</c:v>
                </c:pt>
                <c:pt idx="480">
                  <c:v>41605</c:v>
                </c:pt>
                <c:pt idx="481">
                  <c:v>41606</c:v>
                </c:pt>
                <c:pt idx="482">
                  <c:v>41607</c:v>
                </c:pt>
                <c:pt idx="483">
                  <c:v>41610</c:v>
                </c:pt>
                <c:pt idx="484">
                  <c:v>41611</c:v>
                </c:pt>
                <c:pt idx="485">
                  <c:v>41612</c:v>
                </c:pt>
                <c:pt idx="486">
                  <c:v>41613</c:v>
                </c:pt>
                <c:pt idx="487">
                  <c:v>41617</c:v>
                </c:pt>
                <c:pt idx="488">
                  <c:v>41618</c:v>
                </c:pt>
                <c:pt idx="489">
                  <c:v>41619</c:v>
                </c:pt>
                <c:pt idx="490">
                  <c:v>41620</c:v>
                </c:pt>
                <c:pt idx="491">
                  <c:v>41621</c:v>
                </c:pt>
                <c:pt idx="492">
                  <c:v>41624</c:v>
                </c:pt>
                <c:pt idx="493">
                  <c:v>41625</c:v>
                </c:pt>
                <c:pt idx="494">
                  <c:v>41626</c:v>
                </c:pt>
                <c:pt idx="495">
                  <c:v>41627</c:v>
                </c:pt>
                <c:pt idx="496">
                  <c:v>41628</c:v>
                </c:pt>
                <c:pt idx="497">
                  <c:v>41631</c:v>
                </c:pt>
                <c:pt idx="498">
                  <c:v>41635</c:v>
                </c:pt>
                <c:pt idx="499">
                  <c:v>41638</c:v>
                </c:pt>
                <c:pt idx="500">
                  <c:v>41641</c:v>
                </c:pt>
                <c:pt idx="501">
                  <c:v>41642</c:v>
                </c:pt>
                <c:pt idx="502">
                  <c:v>41646</c:v>
                </c:pt>
                <c:pt idx="503">
                  <c:v>41647</c:v>
                </c:pt>
                <c:pt idx="504">
                  <c:v>41648</c:v>
                </c:pt>
                <c:pt idx="505">
                  <c:v>41649</c:v>
                </c:pt>
                <c:pt idx="506">
                  <c:v>41652</c:v>
                </c:pt>
                <c:pt idx="507">
                  <c:v>41653</c:v>
                </c:pt>
                <c:pt idx="508">
                  <c:v>41654</c:v>
                </c:pt>
                <c:pt idx="509">
                  <c:v>41655</c:v>
                </c:pt>
                <c:pt idx="510">
                  <c:v>41656</c:v>
                </c:pt>
                <c:pt idx="511">
                  <c:v>41659</c:v>
                </c:pt>
                <c:pt idx="512">
                  <c:v>41660</c:v>
                </c:pt>
                <c:pt idx="513">
                  <c:v>41661</c:v>
                </c:pt>
                <c:pt idx="514">
                  <c:v>41662</c:v>
                </c:pt>
                <c:pt idx="515">
                  <c:v>41663</c:v>
                </c:pt>
                <c:pt idx="516">
                  <c:v>41666</c:v>
                </c:pt>
                <c:pt idx="517">
                  <c:v>41667</c:v>
                </c:pt>
                <c:pt idx="518">
                  <c:v>41668</c:v>
                </c:pt>
                <c:pt idx="519">
                  <c:v>41669</c:v>
                </c:pt>
                <c:pt idx="520">
                  <c:v>41670</c:v>
                </c:pt>
                <c:pt idx="521">
                  <c:v>41673</c:v>
                </c:pt>
                <c:pt idx="522">
                  <c:v>41674</c:v>
                </c:pt>
                <c:pt idx="523">
                  <c:v>41675</c:v>
                </c:pt>
                <c:pt idx="524">
                  <c:v>41676</c:v>
                </c:pt>
                <c:pt idx="525">
                  <c:v>41677</c:v>
                </c:pt>
                <c:pt idx="526">
                  <c:v>41680</c:v>
                </c:pt>
                <c:pt idx="527">
                  <c:v>41681</c:v>
                </c:pt>
                <c:pt idx="528">
                  <c:v>41682</c:v>
                </c:pt>
                <c:pt idx="529">
                  <c:v>41683</c:v>
                </c:pt>
                <c:pt idx="530">
                  <c:v>41684</c:v>
                </c:pt>
                <c:pt idx="531">
                  <c:v>41687</c:v>
                </c:pt>
                <c:pt idx="532">
                  <c:v>41688</c:v>
                </c:pt>
                <c:pt idx="533">
                  <c:v>41689</c:v>
                </c:pt>
                <c:pt idx="534">
                  <c:v>41690</c:v>
                </c:pt>
                <c:pt idx="535">
                  <c:v>41691</c:v>
                </c:pt>
                <c:pt idx="536">
                  <c:v>41694</c:v>
                </c:pt>
                <c:pt idx="537">
                  <c:v>41695</c:v>
                </c:pt>
                <c:pt idx="538">
                  <c:v>41696</c:v>
                </c:pt>
                <c:pt idx="539">
                  <c:v>41697</c:v>
                </c:pt>
                <c:pt idx="540">
                  <c:v>41698</c:v>
                </c:pt>
                <c:pt idx="541">
                  <c:v>41701</c:v>
                </c:pt>
                <c:pt idx="542">
                  <c:v>41702</c:v>
                </c:pt>
                <c:pt idx="543">
                  <c:v>41703</c:v>
                </c:pt>
                <c:pt idx="544">
                  <c:v>41704</c:v>
                </c:pt>
                <c:pt idx="545">
                  <c:v>41705</c:v>
                </c:pt>
                <c:pt idx="546">
                  <c:v>41708</c:v>
                </c:pt>
                <c:pt idx="547">
                  <c:v>41709</c:v>
                </c:pt>
                <c:pt idx="548">
                  <c:v>41710</c:v>
                </c:pt>
                <c:pt idx="549">
                  <c:v>41711</c:v>
                </c:pt>
                <c:pt idx="550">
                  <c:v>41712</c:v>
                </c:pt>
                <c:pt idx="551">
                  <c:v>41715</c:v>
                </c:pt>
                <c:pt idx="552">
                  <c:v>41716</c:v>
                </c:pt>
                <c:pt idx="553">
                  <c:v>41717</c:v>
                </c:pt>
                <c:pt idx="554">
                  <c:v>41718</c:v>
                </c:pt>
                <c:pt idx="555">
                  <c:v>41719</c:v>
                </c:pt>
                <c:pt idx="556">
                  <c:v>41722</c:v>
                </c:pt>
                <c:pt idx="557">
                  <c:v>41723</c:v>
                </c:pt>
                <c:pt idx="558">
                  <c:v>41724</c:v>
                </c:pt>
                <c:pt idx="559">
                  <c:v>41725</c:v>
                </c:pt>
                <c:pt idx="560">
                  <c:v>41726</c:v>
                </c:pt>
                <c:pt idx="561">
                  <c:v>41729</c:v>
                </c:pt>
                <c:pt idx="562">
                  <c:v>41730</c:v>
                </c:pt>
                <c:pt idx="563">
                  <c:v>41731</c:v>
                </c:pt>
                <c:pt idx="564">
                  <c:v>41732</c:v>
                </c:pt>
                <c:pt idx="565">
                  <c:v>41733</c:v>
                </c:pt>
                <c:pt idx="566">
                  <c:v>41736</c:v>
                </c:pt>
                <c:pt idx="567">
                  <c:v>41737</c:v>
                </c:pt>
                <c:pt idx="568">
                  <c:v>41738</c:v>
                </c:pt>
                <c:pt idx="569">
                  <c:v>41739</c:v>
                </c:pt>
                <c:pt idx="570">
                  <c:v>41740</c:v>
                </c:pt>
                <c:pt idx="571">
                  <c:v>41743</c:v>
                </c:pt>
                <c:pt idx="572">
                  <c:v>41744</c:v>
                </c:pt>
                <c:pt idx="573">
                  <c:v>41745</c:v>
                </c:pt>
                <c:pt idx="574">
                  <c:v>41746</c:v>
                </c:pt>
                <c:pt idx="575">
                  <c:v>41751</c:v>
                </c:pt>
                <c:pt idx="576">
                  <c:v>41752</c:v>
                </c:pt>
                <c:pt idx="577">
                  <c:v>41753</c:v>
                </c:pt>
                <c:pt idx="578">
                  <c:v>41754</c:v>
                </c:pt>
                <c:pt idx="579">
                  <c:v>41757</c:v>
                </c:pt>
                <c:pt idx="580">
                  <c:v>41758</c:v>
                </c:pt>
                <c:pt idx="581">
                  <c:v>41759</c:v>
                </c:pt>
                <c:pt idx="582">
                  <c:v>41761</c:v>
                </c:pt>
                <c:pt idx="583">
                  <c:v>41764</c:v>
                </c:pt>
                <c:pt idx="584">
                  <c:v>41765</c:v>
                </c:pt>
                <c:pt idx="585">
                  <c:v>41766</c:v>
                </c:pt>
                <c:pt idx="586">
                  <c:v>41767</c:v>
                </c:pt>
                <c:pt idx="587">
                  <c:v>41768</c:v>
                </c:pt>
                <c:pt idx="588">
                  <c:v>41771</c:v>
                </c:pt>
                <c:pt idx="589">
                  <c:v>41772</c:v>
                </c:pt>
                <c:pt idx="590">
                  <c:v>41773</c:v>
                </c:pt>
                <c:pt idx="591">
                  <c:v>41774</c:v>
                </c:pt>
                <c:pt idx="592">
                  <c:v>41775</c:v>
                </c:pt>
                <c:pt idx="593">
                  <c:v>41778</c:v>
                </c:pt>
                <c:pt idx="594">
                  <c:v>41779</c:v>
                </c:pt>
                <c:pt idx="595">
                  <c:v>41780</c:v>
                </c:pt>
                <c:pt idx="596">
                  <c:v>41781</c:v>
                </c:pt>
                <c:pt idx="597">
                  <c:v>41782</c:v>
                </c:pt>
                <c:pt idx="598">
                  <c:v>41785</c:v>
                </c:pt>
                <c:pt idx="599">
                  <c:v>41786</c:v>
                </c:pt>
                <c:pt idx="600">
                  <c:v>41787</c:v>
                </c:pt>
                <c:pt idx="601">
                  <c:v>41789</c:v>
                </c:pt>
                <c:pt idx="602">
                  <c:v>41792</c:v>
                </c:pt>
                <c:pt idx="603">
                  <c:v>41793</c:v>
                </c:pt>
                <c:pt idx="604">
                  <c:v>41794</c:v>
                </c:pt>
                <c:pt idx="605">
                  <c:v>41795</c:v>
                </c:pt>
                <c:pt idx="606">
                  <c:v>41796</c:v>
                </c:pt>
                <c:pt idx="607">
                  <c:v>41799</c:v>
                </c:pt>
                <c:pt idx="608">
                  <c:v>41800</c:v>
                </c:pt>
                <c:pt idx="609">
                  <c:v>41801</c:v>
                </c:pt>
                <c:pt idx="610">
                  <c:v>41802</c:v>
                </c:pt>
                <c:pt idx="611">
                  <c:v>41803</c:v>
                </c:pt>
                <c:pt idx="612">
                  <c:v>41806</c:v>
                </c:pt>
                <c:pt idx="613">
                  <c:v>41807</c:v>
                </c:pt>
                <c:pt idx="614">
                  <c:v>41808</c:v>
                </c:pt>
                <c:pt idx="615">
                  <c:v>41809</c:v>
                </c:pt>
                <c:pt idx="616">
                  <c:v>41813</c:v>
                </c:pt>
                <c:pt idx="617">
                  <c:v>41814</c:v>
                </c:pt>
                <c:pt idx="618">
                  <c:v>41815</c:v>
                </c:pt>
                <c:pt idx="619">
                  <c:v>41816</c:v>
                </c:pt>
                <c:pt idx="620">
                  <c:v>41817</c:v>
                </c:pt>
                <c:pt idx="621">
                  <c:v>41820</c:v>
                </c:pt>
                <c:pt idx="622">
                  <c:v>41821</c:v>
                </c:pt>
                <c:pt idx="623">
                  <c:v>41822</c:v>
                </c:pt>
                <c:pt idx="624">
                  <c:v>41823</c:v>
                </c:pt>
                <c:pt idx="625">
                  <c:v>41824</c:v>
                </c:pt>
                <c:pt idx="626">
                  <c:v>41827</c:v>
                </c:pt>
                <c:pt idx="627">
                  <c:v>41828</c:v>
                </c:pt>
                <c:pt idx="628">
                  <c:v>41829</c:v>
                </c:pt>
                <c:pt idx="629">
                  <c:v>41830</c:v>
                </c:pt>
                <c:pt idx="630">
                  <c:v>41831</c:v>
                </c:pt>
                <c:pt idx="631">
                  <c:v>41834</c:v>
                </c:pt>
                <c:pt idx="632">
                  <c:v>41835</c:v>
                </c:pt>
                <c:pt idx="633">
                  <c:v>41836</c:v>
                </c:pt>
                <c:pt idx="634">
                  <c:v>41837</c:v>
                </c:pt>
                <c:pt idx="635">
                  <c:v>41838</c:v>
                </c:pt>
                <c:pt idx="636">
                  <c:v>41841</c:v>
                </c:pt>
                <c:pt idx="637">
                  <c:v>41842</c:v>
                </c:pt>
                <c:pt idx="638">
                  <c:v>41843</c:v>
                </c:pt>
                <c:pt idx="639">
                  <c:v>41844</c:v>
                </c:pt>
                <c:pt idx="640">
                  <c:v>41845</c:v>
                </c:pt>
                <c:pt idx="641">
                  <c:v>41848</c:v>
                </c:pt>
                <c:pt idx="642">
                  <c:v>41849</c:v>
                </c:pt>
                <c:pt idx="643">
                  <c:v>41850</c:v>
                </c:pt>
                <c:pt idx="644">
                  <c:v>41851</c:v>
                </c:pt>
                <c:pt idx="645">
                  <c:v>41852</c:v>
                </c:pt>
                <c:pt idx="646">
                  <c:v>41855</c:v>
                </c:pt>
                <c:pt idx="647">
                  <c:v>41856</c:v>
                </c:pt>
                <c:pt idx="648">
                  <c:v>41857</c:v>
                </c:pt>
                <c:pt idx="649">
                  <c:v>41858</c:v>
                </c:pt>
                <c:pt idx="650">
                  <c:v>41859</c:v>
                </c:pt>
                <c:pt idx="651">
                  <c:v>41862</c:v>
                </c:pt>
                <c:pt idx="652">
                  <c:v>41863</c:v>
                </c:pt>
                <c:pt idx="653">
                  <c:v>41864</c:v>
                </c:pt>
                <c:pt idx="654">
                  <c:v>41865</c:v>
                </c:pt>
                <c:pt idx="655">
                  <c:v>41866</c:v>
                </c:pt>
                <c:pt idx="656">
                  <c:v>41869</c:v>
                </c:pt>
                <c:pt idx="657">
                  <c:v>41870</c:v>
                </c:pt>
                <c:pt idx="658">
                  <c:v>41871</c:v>
                </c:pt>
                <c:pt idx="659">
                  <c:v>41872</c:v>
                </c:pt>
                <c:pt idx="660">
                  <c:v>41873</c:v>
                </c:pt>
                <c:pt idx="661">
                  <c:v>41876</c:v>
                </c:pt>
                <c:pt idx="662">
                  <c:v>41877</c:v>
                </c:pt>
                <c:pt idx="663">
                  <c:v>41878</c:v>
                </c:pt>
                <c:pt idx="664">
                  <c:v>41879</c:v>
                </c:pt>
                <c:pt idx="665">
                  <c:v>41880</c:v>
                </c:pt>
                <c:pt idx="666">
                  <c:v>41883</c:v>
                </c:pt>
                <c:pt idx="667">
                  <c:v>41884</c:v>
                </c:pt>
                <c:pt idx="668">
                  <c:v>41885</c:v>
                </c:pt>
                <c:pt idx="669">
                  <c:v>41886</c:v>
                </c:pt>
                <c:pt idx="670">
                  <c:v>41887</c:v>
                </c:pt>
                <c:pt idx="671">
                  <c:v>41890</c:v>
                </c:pt>
                <c:pt idx="672">
                  <c:v>41891</c:v>
                </c:pt>
                <c:pt idx="673">
                  <c:v>41892</c:v>
                </c:pt>
                <c:pt idx="674">
                  <c:v>41893</c:v>
                </c:pt>
                <c:pt idx="675">
                  <c:v>41894</c:v>
                </c:pt>
                <c:pt idx="676">
                  <c:v>41897</c:v>
                </c:pt>
                <c:pt idx="677">
                  <c:v>41898</c:v>
                </c:pt>
                <c:pt idx="678">
                  <c:v>41899</c:v>
                </c:pt>
                <c:pt idx="679">
                  <c:v>41900</c:v>
                </c:pt>
                <c:pt idx="680">
                  <c:v>41901</c:v>
                </c:pt>
                <c:pt idx="681">
                  <c:v>41904</c:v>
                </c:pt>
                <c:pt idx="682">
                  <c:v>41905</c:v>
                </c:pt>
                <c:pt idx="683">
                  <c:v>41906</c:v>
                </c:pt>
                <c:pt idx="684">
                  <c:v>41907</c:v>
                </c:pt>
                <c:pt idx="685">
                  <c:v>41908</c:v>
                </c:pt>
                <c:pt idx="686">
                  <c:v>41911</c:v>
                </c:pt>
                <c:pt idx="687">
                  <c:v>41912</c:v>
                </c:pt>
                <c:pt idx="688">
                  <c:v>41913</c:v>
                </c:pt>
                <c:pt idx="689">
                  <c:v>41914</c:v>
                </c:pt>
                <c:pt idx="690">
                  <c:v>41915</c:v>
                </c:pt>
                <c:pt idx="691">
                  <c:v>41918</c:v>
                </c:pt>
                <c:pt idx="692">
                  <c:v>41919</c:v>
                </c:pt>
                <c:pt idx="693">
                  <c:v>41920</c:v>
                </c:pt>
                <c:pt idx="694">
                  <c:v>41921</c:v>
                </c:pt>
                <c:pt idx="695">
                  <c:v>41922</c:v>
                </c:pt>
                <c:pt idx="696">
                  <c:v>41925</c:v>
                </c:pt>
                <c:pt idx="697">
                  <c:v>41926</c:v>
                </c:pt>
                <c:pt idx="698">
                  <c:v>41927</c:v>
                </c:pt>
                <c:pt idx="699">
                  <c:v>41928</c:v>
                </c:pt>
                <c:pt idx="700">
                  <c:v>41929</c:v>
                </c:pt>
                <c:pt idx="701">
                  <c:v>41932</c:v>
                </c:pt>
                <c:pt idx="702">
                  <c:v>41933</c:v>
                </c:pt>
                <c:pt idx="703">
                  <c:v>41934</c:v>
                </c:pt>
                <c:pt idx="704">
                  <c:v>41935</c:v>
                </c:pt>
                <c:pt idx="705">
                  <c:v>41936</c:v>
                </c:pt>
                <c:pt idx="706">
                  <c:v>41939</c:v>
                </c:pt>
                <c:pt idx="707">
                  <c:v>41940</c:v>
                </c:pt>
                <c:pt idx="708">
                  <c:v>41941</c:v>
                </c:pt>
                <c:pt idx="709">
                  <c:v>41942</c:v>
                </c:pt>
                <c:pt idx="710">
                  <c:v>41943</c:v>
                </c:pt>
                <c:pt idx="711">
                  <c:v>41946</c:v>
                </c:pt>
                <c:pt idx="712">
                  <c:v>41947</c:v>
                </c:pt>
                <c:pt idx="713">
                  <c:v>41948</c:v>
                </c:pt>
                <c:pt idx="714">
                  <c:v>41949</c:v>
                </c:pt>
                <c:pt idx="715">
                  <c:v>41950</c:v>
                </c:pt>
                <c:pt idx="716">
                  <c:v>41953</c:v>
                </c:pt>
                <c:pt idx="717">
                  <c:v>41954</c:v>
                </c:pt>
                <c:pt idx="718">
                  <c:v>41955</c:v>
                </c:pt>
                <c:pt idx="719">
                  <c:v>41956</c:v>
                </c:pt>
                <c:pt idx="720">
                  <c:v>41957</c:v>
                </c:pt>
                <c:pt idx="721">
                  <c:v>41960</c:v>
                </c:pt>
                <c:pt idx="722">
                  <c:v>41961</c:v>
                </c:pt>
                <c:pt idx="723">
                  <c:v>41962</c:v>
                </c:pt>
                <c:pt idx="724">
                  <c:v>41963</c:v>
                </c:pt>
                <c:pt idx="725">
                  <c:v>41964</c:v>
                </c:pt>
                <c:pt idx="726">
                  <c:v>41967</c:v>
                </c:pt>
                <c:pt idx="727">
                  <c:v>41968</c:v>
                </c:pt>
                <c:pt idx="728">
                  <c:v>41969</c:v>
                </c:pt>
                <c:pt idx="729">
                  <c:v>41970</c:v>
                </c:pt>
                <c:pt idx="730">
                  <c:v>41971</c:v>
                </c:pt>
                <c:pt idx="731">
                  <c:v>41974</c:v>
                </c:pt>
                <c:pt idx="732">
                  <c:v>41975</c:v>
                </c:pt>
                <c:pt idx="733">
                  <c:v>41976</c:v>
                </c:pt>
                <c:pt idx="734">
                  <c:v>41977</c:v>
                </c:pt>
                <c:pt idx="735">
                  <c:v>41978</c:v>
                </c:pt>
                <c:pt idx="736">
                  <c:v>41981</c:v>
                </c:pt>
                <c:pt idx="737">
                  <c:v>41982</c:v>
                </c:pt>
                <c:pt idx="738">
                  <c:v>41983</c:v>
                </c:pt>
                <c:pt idx="739">
                  <c:v>41984</c:v>
                </c:pt>
                <c:pt idx="740">
                  <c:v>41985</c:v>
                </c:pt>
                <c:pt idx="741">
                  <c:v>41988</c:v>
                </c:pt>
                <c:pt idx="742">
                  <c:v>41989</c:v>
                </c:pt>
                <c:pt idx="743">
                  <c:v>41990</c:v>
                </c:pt>
                <c:pt idx="744">
                  <c:v>41991</c:v>
                </c:pt>
                <c:pt idx="745">
                  <c:v>41992</c:v>
                </c:pt>
                <c:pt idx="746">
                  <c:v>41995</c:v>
                </c:pt>
                <c:pt idx="747">
                  <c:v>41996</c:v>
                </c:pt>
                <c:pt idx="748">
                  <c:v>42002</c:v>
                </c:pt>
                <c:pt idx="749">
                  <c:v>42003</c:v>
                </c:pt>
                <c:pt idx="750">
                  <c:v>42006</c:v>
                </c:pt>
                <c:pt idx="751">
                  <c:v>42009</c:v>
                </c:pt>
                <c:pt idx="752">
                  <c:v>42011</c:v>
                </c:pt>
                <c:pt idx="753">
                  <c:v>42012</c:v>
                </c:pt>
                <c:pt idx="754">
                  <c:v>42013</c:v>
                </c:pt>
                <c:pt idx="755">
                  <c:v>42016</c:v>
                </c:pt>
                <c:pt idx="756">
                  <c:v>42017</c:v>
                </c:pt>
                <c:pt idx="757">
                  <c:v>42018</c:v>
                </c:pt>
                <c:pt idx="758">
                  <c:v>42019</c:v>
                </c:pt>
                <c:pt idx="759">
                  <c:v>42020</c:v>
                </c:pt>
                <c:pt idx="760">
                  <c:v>42023</c:v>
                </c:pt>
                <c:pt idx="761">
                  <c:v>42024</c:v>
                </c:pt>
                <c:pt idx="762">
                  <c:v>42025</c:v>
                </c:pt>
                <c:pt idx="763">
                  <c:v>42026</c:v>
                </c:pt>
                <c:pt idx="764">
                  <c:v>42027</c:v>
                </c:pt>
                <c:pt idx="765">
                  <c:v>42030</c:v>
                </c:pt>
                <c:pt idx="766">
                  <c:v>42031</c:v>
                </c:pt>
                <c:pt idx="767">
                  <c:v>42032</c:v>
                </c:pt>
                <c:pt idx="768">
                  <c:v>42033</c:v>
                </c:pt>
                <c:pt idx="769">
                  <c:v>42034</c:v>
                </c:pt>
                <c:pt idx="770">
                  <c:v>42037</c:v>
                </c:pt>
                <c:pt idx="771">
                  <c:v>42038</c:v>
                </c:pt>
                <c:pt idx="772">
                  <c:v>42039</c:v>
                </c:pt>
                <c:pt idx="773">
                  <c:v>42040</c:v>
                </c:pt>
                <c:pt idx="774">
                  <c:v>42041</c:v>
                </c:pt>
                <c:pt idx="775">
                  <c:v>42044</c:v>
                </c:pt>
                <c:pt idx="776">
                  <c:v>42045</c:v>
                </c:pt>
                <c:pt idx="777">
                  <c:v>42046</c:v>
                </c:pt>
                <c:pt idx="778">
                  <c:v>42047</c:v>
                </c:pt>
                <c:pt idx="779">
                  <c:v>42048</c:v>
                </c:pt>
                <c:pt idx="780">
                  <c:v>42051</c:v>
                </c:pt>
                <c:pt idx="781">
                  <c:v>42052</c:v>
                </c:pt>
                <c:pt idx="782">
                  <c:v>42053</c:v>
                </c:pt>
                <c:pt idx="783">
                  <c:v>42054</c:v>
                </c:pt>
                <c:pt idx="784">
                  <c:v>42055</c:v>
                </c:pt>
                <c:pt idx="785">
                  <c:v>42058</c:v>
                </c:pt>
                <c:pt idx="786">
                  <c:v>42059</c:v>
                </c:pt>
                <c:pt idx="787">
                  <c:v>42060</c:v>
                </c:pt>
                <c:pt idx="788">
                  <c:v>42061</c:v>
                </c:pt>
                <c:pt idx="789">
                  <c:v>42062</c:v>
                </c:pt>
                <c:pt idx="790">
                  <c:v>42065</c:v>
                </c:pt>
                <c:pt idx="791">
                  <c:v>42066</c:v>
                </c:pt>
                <c:pt idx="792">
                  <c:v>42067</c:v>
                </c:pt>
                <c:pt idx="793">
                  <c:v>42068</c:v>
                </c:pt>
                <c:pt idx="794">
                  <c:v>42069</c:v>
                </c:pt>
                <c:pt idx="795">
                  <c:v>42072</c:v>
                </c:pt>
                <c:pt idx="796">
                  <c:v>42073</c:v>
                </c:pt>
                <c:pt idx="797">
                  <c:v>42074</c:v>
                </c:pt>
                <c:pt idx="798">
                  <c:v>42075</c:v>
                </c:pt>
                <c:pt idx="799">
                  <c:v>42076</c:v>
                </c:pt>
                <c:pt idx="800">
                  <c:v>42079</c:v>
                </c:pt>
                <c:pt idx="801">
                  <c:v>42080</c:v>
                </c:pt>
                <c:pt idx="802">
                  <c:v>42081</c:v>
                </c:pt>
                <c:pt idx="803">
                  <c:v>42082</c:v>
                </c:pt>
                <c:pt idx="804">
                  <c:v>42083</c:v>
                </c:pt>
                <c:pt idx="805">
                  <c:v>42086</c:v>
                </c:pt>
                <c:pt idx="806">
                  <c:v>42087</c:v>
                </c:pt>
                <c:pt idx="807">
                  <c:v>42088</c:v>
                </c:pt>
                <c:pt idx="808">
                  <c:v>42089</c:v>
                </c:pt>
                <c:pt idx="809">
                  <c:v>42090</c:v>
                </c:pt>
                <c:pt idx="810">
                  <c:v>42093</c:v>
                </c:pt>
                <c:pt idx="811">
                  <c:v>42094</c:v>
                </c:pt>
                <c:pt idx="812">
                  <c:v>42095</c:v>
                </c:pt>
                <c:pt idx="813">
                  <c:v>42096</c:v>
                </c:pt>
                <c:pt idx="814">
                  <c:v>42101</c:v>
                </c:pt>
                <c:pt idx="815">
                  <c:v>42102</c:v>
                </c:pt>
                <c:pt idx="816">
                  <c:v>42103</c:v>
                </c:pt>
                <c:pt idx="817">
                  <c:v>42104</c:v>
                </c:pt>
                <c:pt idx="818">
                  <c:v>42107</c:v>
                </c:pt>
                <c:pt idx="819">
                  <c:v>42108</c:v>
                </c:pt>
                <c:pt idx="820">
                  <c:v>42109</c:v>
                </c:pt>
                <c:pt idx="821">
                  <c:v>42110</c:v>
                </c:pt>
                <c:pt idx="822">
                  <c:v>42111</c:v>
                </c:pt>
                <c:pt idx="823">
                  <c:v>42114</c:v>
                </c:pt>
                <c:pt idx="824">
                  <c:v>42115</c:v>
                </c:pt>
                <c:pt idx="825">
                  <c:v>42116</c:v>
                </c:pt>
                <c:pt idx="826">
                  <c:v>42117</c:v>
                </c:pt>
                <c:pt idx="827">
                  <c:v>42118</c:v>
                </c:pt>
                <c:pt idx="828">
                  <c:v>42121</c:v>
                </c:pt>
                <c:pt idx="829">
                  <c:v>42122</c:v>
                </c:pt>
                <c:pt idx="830">
                  <c:v>42123</c:v>
                </c:pt>
                <c:pt idx="831">
                  <c:v>42124</c:v>
                </c:pt>
                <c:pt idx="832">
                  <c:v>42128</c:v>
                </c:pt>
                <c:pt idx="833">
                  <c:v>42129</c:v>
                </c:pt>
                <c:pt idx="834">
                  <c:v>42130</c:v>
                </c:pt>
                <c:pt idx="835">
                  <c:v>42131</c:v>
                </c:pt>
                <c:pt idx="836">
                  <c:v>42132</c:v>
                </c:pt>
                <c:pt idx="837">
                  <c:v>42135</c:v>
                </c:pt>
                <c:pt idx="838">
                  <c:v>42136</c:v>
                </c:pt>
                <c:pt idx="839">
                  <c:v>42137</c:v>
                </c:pt>
                <c:pt idx="840">
                  <c:v>42139</c:v>
                </c:pt>
                <c:pt idx="841">
                  <c:v>42142</c:v>
                </c:pt>
                <c:pt idx="842">
                  <c:v>42143</c:v>
                </c:pt>
                <c:pt idx="843">
                  <c:v>42144</c:v>
                </c:pt>
                <c:pt idx="844">
                  <c:v>42145</c:v>
                </c:pt>
                <c:pt idx="845">
                  <c:v>42146</c:v>
                </c:pt>
                <c:pt idx="846">
                  <c:v>42149</c:v>
                </c:pt>
                <c:pt idx="847">
                  <c:v>42150</c:v>
                </c:pt>
                <c:pt idx="848">
                  <c:v>42151</c:v>
                </c:pt>
                <c:pt idx="849">
                  <c:v>42152</c:v>
                </c:pt>
                <c:pt idx="850">
                  <c:v>42153</c:v>
                </c:pt>
                <c:pt idx="851">
                  <c:v>42156</c:v>
                </c:pt>
                <c:pt idx="852">
                  <c:v>42157</c:v>
                </c:pt>
                <c:pt idx="853">
                  <c:v>42158</c:v>
                </c:pt>
                <c:pt idx="854">
                  <c:v>42159</c:v>
                </c:pt>
                <c:pt idx="855">
                  <c:v>42160</c:v>
                </c:pt>
                <c:pt idx="856">
                  <c:v>42163</c:v>
                </c:pt>
                <c:pt idx="857">
                  <c:v>42164</c:v>
                </c:pt>
                <c:pt idx="858">
                  <c:v>42165</c:v>
                </c:pt>
                <c:pt idx="859">
                  <c:v>42166</c:v>
                </c:pt>
                <c:pt idx="860">
                  <c:v>42167</c:v>
                </c:pt>
                <c:pt idx="861">
                  <c:v>42170</c:v>
                </c:pt>
                <c:pt idx="862">
                  <c:v>42171</c:v>
                </c:pt>
                <c:pt idx="863">
                  <c:v>42172</c:v>
                </c:pt>
                <c:pt idx="864">
                  <c:v>42173</c:v>
                </c:pt>
                <c:pt idx="865">
                  <c:v>42177</c:v>
                </c:pt>
                <c:pt idx="866">
                  <c:v>42178</c:v>
                </c:pt>
                <c:pt idx="867">
                  <c:v>42179</c:v>
                </c:pt>
                <c:pt idx="868">
                  <c:v>42180</c:v>
                </c:pt>
                <c:pt idx="869">
                  <c:v>42181</c:v>
                </c:pt>
                <c:pt idx="870">
                  <c:v>42184</c:v>
                </c:pt>
                <c:pt idx="871">
                  <c:v>42185</c:v>
                </c:pt>
                <c:pt idx="872">
                  <c:v>42186</c:v>
                </c:pt>
                <c:pt idx="873">
                  <c:v>42187</c:v>
                </c:pt>
                <c:pt idx="874">
                  <c:v>42188</c:v>
                </c:pt>
                <c:pt idx="875">
                  <c:v>42191</c:v>
                </c:pt>
                <c:pt idx="876">
                  <c:v>42192</c:v>
                </c:pt>
                <c:pt idx="877">
                  <c:v>42193</c:v>
                </c:pt>
                <c:pt idx="878">
                  <c:v>42194</c:v>
                </c:pt>
                <c:pt idx="879">
                  <c:v>42195</c:v>
                </c:pt>
                <c:pt idx="880">
                  <c:v>42198</c:v>
                </c:pt>
                <c:pt idx="881">
                  <c:v>42199</c:v>
                </c:pt>
                <c:pt idx="882">
                  <c:v>42200</c:v>
                </c:pt>
                <c:pt idx="883">
                  <c:v>42201</c:v>
                </c:pt>
                <c:pt idx="884">
                  <c:v>42202</c:v>
                </c:pt>
                <c:pt idx="885">
                  <c:v>42205</c:v>
                </c:pt>
                <c:pt idx="886">
                  <c:v>42206</c:v>
                </c:pt>
                <c:pt idx="887">
                  <c:v>42207</c:v>
                </c:pt>
                <c:pt idx="888">
                  <c:v>42208</c:v>
                </c:pt>
                <c:pt idx="889">
                  <c:v>42209</c:v>
                </c:pt>
                <c:pt idx="890">
                  <c:v>42212</c:v>
                </c:pt>
                <c:pt idx="891">
                  <c:v>42213</c:v>
                </c:pt>
                <c:pt idx="892">
                  <c:v>42214</c:v>
                </c:pt>
                <c:pt idx="893">
                  <c:v>42215</c:v>
                </c:pt>
                <c:pt idx="894">
                  <c:v>42216</c:v>
                </c:pt>
                <c:pt idx="895">
                  <c:v>42219</c:v>
                </c:pt>
                <c:pt idx="896">
                  <c:v>42220</c:v>
                </c:pt>
                <c:pt idx="897">
                  <c:v>42221</c:v>
                </c:pt>
                <c:pt idx="898">
                  <c:v>42222</c:v>
                </c:pt>
                <c:pt idx="899">
                  <c:v>42223</c:v>
                </c:pt>
                <c:pt idx="900">
                  <c:v>42226</c:v>
                </c:pt>
                <c:pt idx="901">
                  <c:v>42227</c:v>
                </c:pt>
                <c:pt idx="902">
                  <c:v>42228</c:v>
                </c:pt>
                <c:pt idx="903">
                  <c:v>42229</c:v>
                </c:pt>
                <c:pt idx="904">
                  <c:v>42230</c:v>
                </c:pt>
                <c:pt idx="905">
                  <c:v>42233</c:v>
                </c:pt>
                <c:pt idx="906">
                  <c:v>42234</c:v>
                </c:pt>
                <c:pt idx="907">
                  <c:v>42235</c:v>
                </c:pt>
                <c:pt idx="908">
                  <c:v>42236</c:v>
                </c:pt>
                <c:pt idx="909">
                  <c:v>42237</c:v>
                </c:pt>
                <c:pt idx="910">
                  <c:v>42240</c:v>
                </c:pt>
                <c:pt idx="911">
                  <c:v>42241</c:v>
                </c:pt>
                <c:pt idx="912">
                  <c:v>42242</c:v>
                </c:pt>
                <c:pt idx="913">
                  <c:v>42243</c:v>
                </c:pt>
                <c:pt idx="914">
                  <c:v>42244</c:v>
                </c:pt>
                <c:pt idx="915">
                  <c:v>42247</c:v>
                </c:pt>
                <c:pt idx="916">
                  <c:v>42248</c:v>
                </c:pt>
                <c:pt idx="917">
                  <c:v>42249</c:v>
                </c:pt>
                <c:pt idx="918">
                  <c:v>42250</c:v>
                </c:pt>
                <c:pt idx="919">
                  <c:v>42251</c:v>
                </c:pt>
                <c:pt idx="920">
                  <c:v>42254</c:v>
                </c:pt>
                <c:pt idx="921">
                  <c:v>42255</c:v>
                </c:pt>
                <c:pt idx="922">
                  <c:v>42256</c:v>
                </c:pt>
                <c:pt idx="923">
                  <c:v>42257</c:v>
                </c:pt>
                <c:pt idx="924">
                  <c:v>42258</c:v>
                </c:pt>
                <c:pt idx="925">
                  <c:v>42261</c:v>
                </c:pt>
                <c:pt idx="926">
                  <c:v>42262</c:v>
                </c:pt>
                <c:pt idx="927">
                  <c:v>42263</c:v>
                </c:pt>
                <c:pt idx="928">
                  <c:v>42264</c:v>
                </c:pt>
                <c:pt idx="929">
                  <c:v>42265</c:v>
                </c:pt>
                <c:pt idx="930">
                  <c:v>42268</c:v>
                </c:pt>
                <c:pt idx="931">
                  <c:v>42269</c:v>
                </c:pt>
                <c:pt idx="932">
                  <c:v>42270</c:v>
                </c:pt>
                <c:pt idx="933">
                  <c:v>42271</c:v>
                </c:pt>
                <c:pt idx="934">
                  <c:v>42272</c:v>
                </c:pt>
                <c:pt idx="935">
                  <c:v>42275</c:v>
                </c:pt>
                <c:pt idx="936">
                  <c:v>42276</c:v>
                </c:pt>
                <c:pt idx="937">
                  <c:v>42277</c:v>
                </c:pt>
                <c:pt idx="938">
                  <c:v>42278</c:v>
                </c:pt>
                <c:pt idx="939">
                  <c:v>42279</c:v>
                </c:pt>
                <c:pt idx="940">
                  <c:v>42282</c:v>
                </c:pt>
                <c:pt idx="941">
                  <c:v>42283</c:v>
                </c:pt>
                <c:pt idx="942">
                  <c:v>42284</c:v>
                </c:pt>
                <c:pt idx="943">
                  <c:v>42285</c:v>
                </c:pt>
                <c:pt idx="944">
                  <c:v>42286</c:v>
                </c:pt>
                <c:pt idx="945">
                  <c:v>42289</c:v>
                </c:pt>
                <c:pt idx="946">
                  <c:v>42290</c:v>
                </c:pt>
                <c:pt idx="947">
                  <c:v>42291</c:v>
                </c:pt>
                <c:pt idx="948">
                  <c:v>42292</c:v>
                </c:pt>
                <c:pt idx="949">
                  <c:v>42293</c:v>
                </c:pt>
                <c:pt idx="950">
                  <c:v>42296</c:v>
                </c:pt>
                <c:pt idx="951">
                  <c:v>42297</c:v>
                </c:pt>
                <c:pt idx="952">
                  <c:v>42298</c:v>
                </c:pt>
                <c:pt idx="953">
                  <c:v>42299</c:v>
                </c:pt>
                <c:pt idx="954">
                  <c:v>42300</c:v>
                </c:pt>
                <c:pt idx="955">
                  <c:v>42303</c:v>
                </c:pt>
                <c:pt idx="956">
                  <c:v>42304</c:v>
                </c:pt>
                <c:pt idx="957">
                  <c:v>42305</c:v>
                </c:pt>
                <c:pt idx="958">
                  <c:v>42306</c:v>
                </c:pt>
                <c:pt idx="959">
                  <c:v>42307</c:v>
                </c:pt>
                <c:pt idx="960">
                  <c:v>42310</c:v>
                </c:pt>
                <c:pt idx="961">
                  <c:v>42311</c:v>
                </c:pt>
                <c:pt idx="962">
                  <c:v>42312</c:v>
                </c:pt>
                <c:pt idx="963">
                  <c:v>42313</c:v>
                </c:pt>
                <c:pt idx="964">
                  <c:v>42314</c:v>
                </c:pt>
                <c:pt idx="965">
                  <c:v>42317</c:v>
                </c:pt>
                <c:pt idx="966">
                  <c:v>42318</c:v>
                </c:pt>
                <c:pt idx="967">
                  <c:v>42319</c:v>
                </c:pt>
                <c:pt idx="968">
                  <c:v>42320</c:v>
                </c:pt>
                <c:pt idx="969">
                  <c:v>42321</c:v>
                </c:pt>
                <c:pt idx="970">
                  <c:v>42324</c:v>
                </c:pt>
                <c:pt idx="971">
                  <c:v>42325</c:v>
                </c:pt>
                <c:pt idx="972">
                  <c:v>42326</c:v>
                </c:pt>
                <c:pt idx="973">
                  <c:v>42327</c:v>
                </c:pt>
                <c:pt idx="974">
                  <c:v>42328</c:v>
                </c:pt>
                <c:pt idx="975">
                  <c:v>42331</c:v>
                </c:pt>
                <c:pt idx="976">
                  <c:v>42332</c:v>
                </c:pt>
                <c:pt idx="977">
                  <c:v>42333</c:v>
                </c:pt>
                <c:pt idx="978">
                  <c:v>42334</c:v>
                </c:pt>
                <c:pt idx="979">
                  <c:v>42335</c:v>
                </c:pt>
                <c:pt idx="980">
                  <c:v>42338</c:v>
                </c:pt>
                <c:pt idx="981">
                  <c:v>42339</c:v>
                </c:pt>
                <c:pt idx="982">
                  <c:v>42340</c:v>
                </c:pt>
                <c:pt idx="983">
                  <c:v>42341</c:v>
                </c:pt>
                <c:pt idx="984">
                  <c:v>42342</c:v>
                </c:pt>
                <c:pt idx="985">
                  <c:v>42345</c:v>
                </c:pt>
                <c:pt idx="986">
                  <c:v>42346</c:v>
                </c:pt>
                <c:pt idx="987">
                  <c:v>42347</c:v>
                </c:pt>
                <c:pt idx="988">
                  <c:v>42348</c:v>
                </c:pt>
                <c:pt idx="989">
                  <c:v>42349</c:v>
                </c:pt>
                <c:pt idx="990">
                  <c:v>42352</c:v>
                </c:pt>
                <c:pt idx="991">
                  <c:v>42353</c:v>
                </c:pt>
                <c:pt idx="992">
                  <c:v>42354</c:v>
                </c:pt>
                <c:pt idx="993">
                  <c:v>42355</c:v>
                </c:pt>
                <c:pt idx="994">
                  <c:v>42356</c:v>
                </c:pt>
                <c:pt idx="995">
                  <c:v>42359</c:v>
                </c:pt>
                <c:pt idx="996">
                  <c:v>42360</c:v>
                </c:pt>
                <c:pt idx="997">
                  <c:v>42361</c:v>
                </c:pt>
                <c:pt idx="998">
                  <c:v>42366</c:v>
                </c:pt>
                <c:pt idx="999">
                  <c:v>42367</c:v>
                </c:pt>
                <c:pt idx="1000">
                  <c:v>42368</c:v>
                </c:pt>
                <c:pt idx="1001">
                  <c:v>42373</c:v>
                </c:pt>
                <c:pt idx="1002">
                  <c:v>42374</c:v>
                </c:pt>
                <c:pt idx="1003">
                  <c:v>42376</c:v>
                </c:pt>
                <c:pt idx="1004">
                  <c:v>42377</c:v>
                </c:pt>
                <c:pt idx="1005">
                  <c:v>42380</c:v>
                </c:pt>
                <c:pt idx="1006">
                  <c:v>42381</c:v>
                </c:pt>
                <c:pt idx="1007">
                  <c:v>42382</c:v>
                </c:pt>
                <c:pt idx="1008">
                  <c:v>42383</c:v>
                </c:pt>
                <c:pt idx="1009">
                  <c:v>42384</c:v>
                </c:pt>
                <c:pt idx="1010">
                  <c:v>42387</c:v>
                </c:pt>
                <c:pt idx="1011">
                  <c:v>42388</c:v>
                </c:pt>
                <c:pt idx="1012">
                  <c:v>42389</c:v>
                </c:pt>
                <c:pt idx="1013">
                  <c:v>42390</c:v>
                </c:pt>
                <c:pt idx="1014">
                  <c:v>42391</c:v>
                </c:pt>
                <c:pt idx="1015">
                  <c:v>42394</c:v>
                </c:pt>
                <c:pt idx="1016">
                  <c:v>42395</c:v>
                </c:pt>
                <c:pt idx="1017">
                  <c:v>42396</c:v>
                </c:pt>
                <c:pt idx="1018">
                  <c:v>42397</c:v>
                </c:pt>
                <c:pt idx="1019">
                  <c:v>42398</c:v>
                </c:pt>
                <c:pt idx="1020">
                  <c:v>42401</c:v>
                </c:pt>
                <c:pt idx="1021">
                  <c:v>42402</c:v>
                </c:pt>
                <c:pt idx="1022">
                  <c:v>42403</c:v>
                </c:pt>
                <c:pt idx="1023">
                  <c:v>42404</c:v>
                </c:pt>
                <c:pt idx="1024">
                  <c:v>42405</c:v>
                </c:pt>
                <c:pt idx="1025">
                  <c:v>42408</c:v>
                </c:pt>
                <c:pt idx="1026">
                  <c:v>42409</c:v>
                </c:pt>
                <c:pt idx="1027">
                  <c:v>42410</c:v>
                </c:pt>
                <c:pt idx="1028">
                  <c:v>42411</c:v>
                </c:pt>
                <c:pt idx="1029">
                  <c:v>42412</c:v>
                </c:pt>
                <c:pt idx="1030">
                  <c:v>42415</c:v>
                </c:pt>
                <c:pt idx="1031">
                  <c:v>42416</c:v>
                </c:pt>
                <c:pt idx="1032">
                  <c:v>42417</c:v>
                </c:pt>
                <c:pt idx="1033">
                  <c:v>42418</c:v>
                </c:pt>
                <c:pt idx="1034">
                  <c:v>42419</c:v>
                </c:pt>
                <c:pt idx="1035">
                  <c:v>42422</c:v>
                </c:pt>
                <c:pt idx="1036">
                  <c:v>42423</c:v>
                </c:pt>
                <c:pt idx="1037">
                  <c:v>42424</c:v>
                </c:pt>
                <c:pt idx="1038">
                  <c:v>42425</c:v>
                </c:pt>
                <c:pt idx="1039">
                  <c:v>42426</c:v>
                </c:pt>
                <c:pt idx="1040">
                  <c:v>42429</c:v>
                </c:pt>
                <c:pt idx="1041">
                  <c:v>42430</c:v>
                </c:pt>
                <c:pt idx="1042">
                  <c:v>42431</c:v>
                </c:pt>
                <c:pt idx="1043">
                  <c:v>42432</c:v>
                </c:pt>
                <c:pt idx="1044">
                  <c:v>42433</c:v>
                </c:pt>
                <c:pt idx="1045">
                  <c:v>42436</c:v>
                </c:pt>
                <c:pt idx="1046">
                  <c:v>42437</c:v>
                </c:pt>
                <c:pt idx="1047">
                  <c:v>42438</c:v>
                </c:pt>
                <c:pt idx="1048">
                  <c:v>42439</c:v>
                </c:pt>
                <c:pt idx="1049">
                  <c:v>42440</c:v>
                </c:pt>
                <c:pt idx="1050">
                  <c:v>42443</c:v>
                </c:pt>
                <c:pt idx="1051">
                  <c:v>42444</c:v>
                </c:pt>
                <c:pt idx="1052">
                  <c:v>42445</c:v>
                </c:pt>
                <c:pt idx="1053">
                  <c:v>42446</c:v>
                </c:pt>
                <c:pt idx="1054">
                  <c:v>42447</c:v>
                </c:pt>
                <c:pt idx="1055">
                  <c:v>42450</c:v>
                </c:pt>
                <c:pt idx="1056">
                  <c:v>42451</c:v>
                </c:pt>
                <c:pt idx="1057">
                  <c:v>42452</c:v>
                </c:pt>
                <c:pt idx="1058">
                  <c:v>42453</c:v>
                </c:pt>
                <c:pt idx="1059">
                  <c:v>42458</c:v>
                </c:pt>
                <c:pt idx="1060">
                  <c:v>42459</c:v>
                </c:pt>
                <c:pt idx="1061">
                  <c:v>42460</c:v>
                </c:pt>
                <c:pt idx="1062">
                  <c:v>42461</c:v>
                </c:pt>
                <c:pt idx="1063">
                  <c:v>42464</c:v>
                </c:pt>
                <c:pt idx="1064">
                  <c:v>42465</c:v>
                </c:pt>
                <c:pt idx="1065">
                  <c:v>42466</c:v>
                </c:pt>
                <c:pt idx="1066">
                  <c:v>42467</c:v>
                </c:pt>
                <c:pt idx="1067">
                  <c:v>42468</c:v>
                </c:pt>
                <c:pt idx="1068">
                  <c:v>42471</c:v>
                </c:pt>
                <c:pt idx="1069">
                  <c:v>42472</c:v>
                </c:pt>
                <c:pt idx="1070">
                  <c:v>42473</c:v>
                </c:pt>
                <c:pt idx="1071">
                  <c:v>42474</c:v>
                </c:pt>
                <c:pt idx="1072">
                  <c:v>42475</c:v>
                </c:pt>
                <c:pt idx="1073">
                  <c:v>42478</c:v>
                </c:pt>
                <c:pt idx="1074">
                  <c:v>42479</c:v>
                </c:pt>
                <c:pt idx="1075">
                  <c:v>42480</c:v>
                </c:pt>
                <c:pt idx="1076">
                  <c:v>42481</c:v>
                </c:pt>
                <c:pt idx="1077">
                  <c:v>42482</c:v>
                </c:pt>
                <c:pt idx="1078">
                  <c:v>42485</c:v>
                </c:pt>
                <c:pt idx="1079">
                  <c:v>42486</c:v>
                </c:pt>
                <c:pt idx="1080">
                  <c:v>42487</c:v>
                </c:pt>
                <c:pt idx="1081">
                  <c:v>42488</c:v>
                </c:pt>
                <c:pt idx="1082">
                  <c:v>42489</c:v>
                </c:pt>
                <c:pt idx="1083">
                  <c:v>42492</c:v>
                </c:pt>
                <c:pt idx="1084">
                  <c:v>42493</c:v>
                </c:pt>
                <c:pt idx="1085">
                  <c:v>42494</c:v>
                </c:pt>
                <c:pt idx="1086">
                  <c:v>42496</c:v>
                </c:pt>
                <c:pt idx="1087">
                  <c:v>42499</c:v>
                </c:pt>
                <c:pt idx="1088">
                  <c:v>42500</c:v>
                </c:pt>
                <c:pt idx="1089">
                  <c:v>42501</c:v>
                </c:pt>
                <c:pt idx="1090">
                  <c:v>42502</c:v>
                </c:pt>
                <c:pt idx="1091">
                  <c:v>42503</c:v>
                </c:pt>
                <c:pt idx="1092">
                  <c:v>42506</c:v>
                </c:pt>
                <c:pt idx="1093">
                  <c:v>42507</c:v>
                </c:pt>
                <c:pt idx="1094">
                  <c:v>42508</c:v>
                </c:pt>
                <c:pt idx="1095">
                  <c:v>42509</c:v>
                </c:pt>
                <c:pt idx="1096">
                  <c:v>42510</c:v>
                </c:pt>
                <c:pt idx="1097">
                  <c:v>42513</c:v>
                </c:pt>
                <c:pt idx="1098">
                  <c:v>42514</c:v>
                </c:pt>
                <c:pt idx="1099">
                  <c:v>42515</c:v>
                </c:pt>
                <c:pt idx="1100">
                  <c:v>42516</c:v>
                </c:pt>
                <c:pt idx="1101">
                  <c:v>42517</c:v>
                </c:pt>
                <c:pt idx="1102">
                  <c:v>42520</c:v>
                </c:pt>
                <c:pt idx="1103">
                  <c:v>42521</c:v>
                </c:pt>
                <c:pt idx="1104">
                  <c:v>42522</c:v>
                </c:pt>
                <c:pt idx="1105">
                  <c:v>42523</c:v>
                </c:pt>
                <c:pt idx="1106">
                  <c:v>42524</c:v>
                </c:pt>
                <c:pt idx="1107">
                  <c:v>42527</c:v>
                </c:pt>
                <c:pt idx="1108">
                  <c:v>42528</c:v>
                </c:pt>
                <c:pt idx="1109">
                  <c:v>42529</c:v>
                </c:pt>
                <c:pt idx="1110">
                  <c:v>42530</c:v>
                </c:pt>
                <c:pt idx="1111">
                  <c:v>42531</c:v>
                </c:pt>
                <c:pt idx="1112">
                  <c:v>42534</c:v>
                </c:pt>
                <c:pt idx="1113">
                  <c:v>42535</c:v>
                </c:pt>
                <c:pt idx="1114">
                  <c:v>42536</c:v>
                </c:pt>
                <c:pt idx="1115">
                  <c:v>42537</c:v>
                </c:pt>
                <c:pt idx="1116">
                  <c:v>42538</c:v>
                </c:pt>
                <c:pt idx="1117">
                  <c:v>42541</c:v>
                </c:pt>
                <c:pt idx="1118">
                  <c:v>42542</c:v>
                </c:pt>
                <c:pt idx="1119">
                  <c:v>42543</c:v>
                </c:pt>
                <c:pt idx="1120">
                  <c:v>42544</c:v>
                </c:pt>
                <c:pt idx="1121">
                  <c:v>42548</c:v>
                </c:pt>
                <c:pt idx="1122">
                  <c:v>42549</c:v>
                </c:pt>
                <c:pt idx="1123">
                  <c:v>42550</c:v>
                </c:pt>
                <c:pt idx="1124">
                  <c:v>42551</c:v>
                </c:pt>
                <c:pt idx="1125">
                  <c:v>42552</c:v>
                </c:pt>
                <c:pt idx="1126">
                  <c:v>42555</c:v>
                </c:pt>
                <c:pt idx="1127">
                  <c:v>42556</c:v>
                </c:pt>
                <c:pt idx="1128">
                  <c:v>42557</c:v>
                </c:pt>
                <c:pt idx="1129">
                  <c:v>42558</c:v>
                </c:pt>
                <c:pt idx="1130">
                  <c:v>42559</c:v>
                </c:pt>
                <c:pt idx="1131">
                  <c:v>42562</c:v>
                </c:pt>
                <c:pt idx="1132">
                  <c:v>42563</c:v>
                </c:pt>
                <c:pt idx="1133">
                  <c:v>42564</c:v>
                </c:pt>
                <c:pt idx="1134">
                  <c:v>42565</c:v>
                </c:pt>
                <c:pt idx="1135">
                  <c:v>42566</c:v>
                </c:pt>
                <c:pt idx="1136">
                  <c:v>42569</c:v>
                </c:pt>
                <c:pt idx="1137">
                  <c:v>42570</c:v>
                </c:pt>
                <c:pt idx="1138">
                  <c:v>42571</c:v>
                </c:pt>
                <c:pt idx="1139">
                  <c:v>42572</c:v>
                </c:pt>
                <c:pt idx="1140">
                  <c:v>42573</c:v>
                </c:pt>
                <c:pt idx="1141">
                  <c:v>42576</c:v>
                </c:pt>
                <c:pt idx="1142">
                  <c:v>42577</c:v>
                </c:pt>
                <c:pt idx="1143">
                  <c:v>42578</c:v>
                </c:pt>
                <c:pt idx="1144">
                  <c:v>42579</c:v>
                </c:pt>
                <c:pt idx="1145">
                  <c:v>42580</c:v>
                </c:pt>
                <c:pt idx="1146">
                  <c:v>42583</c:v>
                </c:pt>
                <c:pt idx="1147">
                  <c:v>42584</c:v>
                </c:pt>
                <c:pt idx="1148">
                  <c:v>42585</c:v>
                </c:pt>
                <c:pt idx="1149">
                  <c:v>42586</c:v>
                </c:pt>
                <c:pt idx="1150">
                  <c:v>42587</c:v>
                </c:pt>
                <c:pt idx="1151">
                  <c:v>42590</c:v>
                </c:pt>
                <c:pt idx="1152">
                  <c:v>42591</c:v>
                </c:pt>
                <c:pt idx="1153">
                  <c:v>42592</c:v>
                </c:pt>
                <c:pt idx="1154">
                  <c:v>42593</c:v>
                </c:pt>
                <c:pt idx="1155">
                  <c:v>42594</c:v>
                </c:pt>
                <c:pt idx="1156">
                  <c:v>42597</c:v>
                </c:pt>
                <c:pt idx="1157">
                  <c:v>42598</c:v>
                </c:pt>
                <c:pt idx="1158">
                  <c:v>42599</c:v>
                </c:pt>
                <c:pt idx="1159">
                  <c:v>42600</c:v>
                </c:pt>
                <c:pt idx="1160">
                  <c:v>42601</c:v>
                </c:pt>
                <c:pt idx="1161">
                  <c:v>42604</c:v>
                </c:pt>
                <c:pt idx="1162">
                  <c:v>42605</c:v>
                </c:pt>
                <c:pt idx="1163">
                  <c:v>42606</c:v>
                </c:pt>
                <c:pt idx="1164">
                  <c:v>42607</c:v>
                </c:pt>
                <c:pt idx="1165">
                  <c:v>42608</c:v>
                </c:pt>
                <c:pt idx="1166">
                  <c:v>42611</c:v>
                </c:pt>
                <c:pt idx="1167">
                  <c:v>42612</c:v>
                </c:pt>
                <c:pt idx="1168">
                  <c:v>42613</c:v>
                </c:pt>
                <c:pt idx="1169">
                  <c:v>42614</c:v>
                </c:pt>
                <c:pt idx="1170">
                  <c:v>42615</c:v>
                </c:pt>
                <c:pt idx="1171">
                  <c:v>42618</c:v>
                </c:pt>
                <c:pt idx="1172">
                  <c:v>42619</c:v>
                </c:pt>
                <c:pt idx="1173">
                  <c:v>42620</c:v>
                </c:pt>
                <c:pt idx="1174">
                  <c:v>42621</c:v>
                </c:pt>
                <c:pt idx="1175">
                  <c:v>42622</c:v>
                </c:pt>
                <c:pt idx="1176">
                  <c:v>42625</c:v>
                </c:pt>
                <c:pt idx="1177">
                  <c:v>42626</c:v>
                </c:pt>
                <c:pt idx="1178">
                  <c:v>42627</c:v>
                </c:pt>
                <c:pt idx="1179">
                  <c:v>42628</c:v>
                </c:pt>
                <c:pt idx="1180">
                  <c:v>42629</c:v>
                </c:pt>
                <c:pt idx="1181">
                  <c:v>42632</c:v>
                </c:pt>
                <c:pt idx="1182">
                  <c:v>42633</c:v>
                </c:pt>
                <c:pt idx="1183">
                  <c:v>42634</c:v>
                </c:pt>
                <c:pt idx="1184">
                  <c:v>42635</c:v>
                </c:pt>
                <c:pt idx="1185">
                  <c:v>42636</c:v>
                </c:pt>
                <c:pt idx="1186">
                  <c:v>42639</c:v>
                </c:pt>
                <c:pt idx="1187">
                  <c:v>42640</c:v>
                </c:pt>
                <c:pt idx="1188">
                  <c:v>42641</c:v>
                </c:pt>
                <c:pt idx="1189">
                  <c:v>42642</c:v>
                </c:pt>
                <c:pt idx="1190">
                  <c:v>42643</c:v>
                </c:pt>
                <c:pt idx="1191">
                  <c:v>42646</c:v>
                </c:pt>
                <c:pt idx="1192">
                  <c:v>42647</c:v>
                </c:pt>
                <c:pt idx="1193">
                  <c:v>42648</c:v>
                </c:pt>
                <c:pt idx="1194">
                  <c:v>42649</c:v>
                </c:pt>
                <c:pt idx="1195">
                  <c:v>42650</c:v>
                </c:pt>
                <c:pt idx="1196">
                  <c:v>42653</c:v>
                </c:pt>
                <c:pt idx="1197">
                  <c:v>42654</c:v>
                </c:pt>
                <c:pt idx="1198">
                  <c:v>42655</c:v>
                </c:pt>
                <c:pt idx="1199">
                  <c:v>42656</c:v>
                </c:pt>
                <c:pt idx="1200">
                  <c:v>42657</c:v>
                </c:pt>
                <c:pt idx="1201">
                  <c:v>42660</c:v>
                </c:pt>
                <c:pt idx="1202">
                  <c:v>42661</c:v>
                </c:pt>
                <c:pt idx="1203">
                  <c:v>42662</c:v>
                </c:pt>
                <c:pt idx="1204">
                  <c:v>42663</c:v>
                </c:pt>
                <c:pt idx="1205">
                  <c:v>42664</c:v>
                </c:pt>
                <c:pt idx="1206">
                  <c:v>42667</c:v>
                </c:pt>
                <c:pt idx="1207">
                  <c:v>42668</c:v>
                </c:pt>
                <c:pt idx="1208">
                  <c:v>42669</c:v>
                </c:pt>
                <c:pt idx="1209">
                  <c:v>42670</c:v>
                </c:pt>
                <c:pt idx="1210">
                  <c:v>42671</c:v>
                </c:pt>
                <c:pt idx="1211">
                  <c:v>42674</c:v>
                </c:pt>
                <c:pt idx="1212">
                  <c:v>42675</c:v>
                </c:pt>
                <c:pt idx="1213">
                  <c:v>42676</c:v>
                </c:pt>
                <c:pt idx="1214">
                  <c:v>42677</c:v>
                </c:pt>
                <c:pt idx="1215">
                  <c:v>42678</c:v>
                </c:pt>
                <c:pt idx="1216">
                  <c:v>42681</c:v>
                </c:pt>
                <c:pt idx="1217">
                  <c:v>42682</c:v>
                </c:pt>
                <c:pt idx="1218">
                  <c:v>42683</c:v>
                </c:pt>
                <c:pt idx="1219">
                  <c:v>42684</c:v>
                </c:pt>
                <c:pt idx="1220">
                  <c:v>42685</c:v>
                </c:pt>
                <c:pt idx="1221">
                  <c:v>42688</c:v>
                </c:pt>
                <c:pt idx="1222">
                  <c:v>42689</c:v>
                </c:pt>
                <c:pt idx="1223">
                  <c:v>42690</c:v>
                </c:pt>
                <c:pt idx="1224">
                  <c:v>42691</c:v>
                </c:pt>
                <c:pt idx="1225">
                  <c:v>42692</c:v>
                </c:pt>
                <c:pt idx="1226">
                  <c:v>42695</c:v>
                </c:pt>
                <c:pt idx="1227">
                  <c:v>42696</c:v>
                </c:pt>
                <c:pt idx="1228">
                  <c:v>42697</c:v>
                </c:pt>
                <c:pt idx="1229">
                  <c:v>42698</c:v>
                </c:pt>
                <c:pt idx="1230">
                  <c:v>42699</c:v>
                </c:pt>
                <c:pt idx="1231">
                  <c:v>42702</c:v>
                </c:pt>
                <c:pt idx="1232">
                  <c:v>42703</c:v>
                </c:pt>
                <c:pt idx="1233">
                  <c:v>42704</c:v>
                </c:pt>
                <c:pt idx="1234">
                  <c:v>42705</c:v>
                </c:pt>
                <c:pt idx="1235">
                  <c:v>42706</c:v>
                </c:pt>
                <c:pt idx="1236">
                  <c:v>42709</c:v>
                </c:pt>
                <c:pt idx="1237">
                  <c:v>42711</c:v>
                </c:pt>
                <c:pt idx="1238">
                  <c:v>42712</c:v>
                </c:pt>
                <c:pt idx="1239">
                  <c:v>42713</c:v>
                </c:pt>
                <c:pt idx="1240">
                  <c:v>42716</c:v>
                </c:pt>
                <c:pt idx="1241">
                  <c:v>42717</c:v>
                </c:pt>
                <c:pt idx="1242">
                  <c:v>42718</c:v>
                </c:pt>
                <c:pt idx="1243">
                  <c:v>42719</c:v>
                </c:pt>
                <c:pt idx="1244">
                  <c:v>42720</c:v>
                </c:pt>
                <c:pt idx="1245">
                  <c:v>42723</c:v>
                </c:pt>
                <c:pt idx="1246">
                  <c:v>42724</c:v>
                </c:pt>
                <c:pt idx="1247">
                  <c:v>42725</c:v>
                </c:pt>
                <c:pt idx="1248">
                  <c:v>42726</c:v>
                </c:pt>
                <c:pt idx="1249">
                  <c:v>42727</c:v>
                </c:pt>
                <c:pt idx="1250">
                  <c:v>42731</c:v>
                </c:pt>
                <c:pt idx="1251">
                  <c:v>42732</c:v>
                </c:pt>
                <c:pt idx="1252">
                  <c:v>42733</c:v>
                </c:pt>
                <c:pt idx="1253">
                  <c:v>42734</c:v>
                </c:pt>
              </c:numCache>
            </c:numRef>
          </c:cat>
          <c:val>
            <c:numRef>
              <c:f>'[Neste share price.xls]Quotes'!$B$7:$B$1260</c:f>
              <c:numCache>
                <c:formatCode>#,##0.00</c:formatCode>
                <c:ptCount val="1254"/>
                <c:pt idx="0">
                  <c:v>8.0950000000000006</c:v>
                </c:pt>
                <c:pt idx="1">
                  <c:v>8.2900000000000009</c:v>
                </c:pt>
                <c:pt idx="2">
                  <c:v>8.42</c:v>
                </c:pt>
                <c:pt idx="3">
                  <c:v>8.33</c:v>
                </c:pt>
                <c:pt idx="4">
                  <c:v>8.4250000000000007</c:v>
                </c:pt>
                <c:pt idx="5">
                  <c:v>8.51</c:v>
                </c:pt>
                <c:pt idx="6">
                  <c:v>8.34</c:v>
                </c:pt>
                <c:pt idx="7">
                  <c:v>8.3650000000000002</c:v>
                </c:pt>
                <c:pt idx="8">
                  <c:v>8.27</c:v>
                </c:pt>
                <c:pt idx="9">
                  <c:v>8.43</c:v>
                </c:pt>
                <c:pt idx="10">
                  <c:v>8.5549999999999997</c:v>
                </c:pt>
                <c:pt idx="11">
                  <c:v>8.77</c:v>
                </c:pt>
                <c:pt idx="12">
                  <c:v>8.9499999999999993</c:v>
                </c:pt>
                <c:pt idx="13">
                  <c:v>8.9350000000000005</c:v>
                </c:pt>
                <c:pt idx="14">
                  <c:v>9.08</c:v>
                </c:pt>
                <c:pt idx="15">
                  <c:v>8.8049999999999997</c:v>
                </c:pt>
                <c:pt idx="16">
                  <c:v>8.7850000000000001</c:v>
                </c:pt>
                <c:pt idx="17">
                  <c:v>8.9749999999999996</c:v>
                </c:pt>
                <c:pt idx="18">
                  <c:v>8.9350000000000005</c:v>
                </c:pt>
                <c:pt idx="19">
                  <c:v>8.4650000000000052</c:v>
                </c:pt>
                <c:pt idx="20">
                  <c:v>8.58</c:v>
                </c:pt>
                <c:pt idx="21">
                  <c:v>8.875</c:v>
                </c:pt>
                <c:pt idx="22">
                  <c:v>8.86</c:v>
                </c:pt>
                <c:pt idx="23">
                  <c:v>9.6750000000000007</c:v>
                </c:pt>
                <c:pt idx="24">
                  <c:v>9.4499999999999993</c:v>
                </c:pt>
                <c:pt idx="25">
                  <c:v>9.6150000000000002</c:v>
                </c:pt>
                <c:pt idx="26">
                  <c:v>10.06</c:v>
                </c:pt>
                <c:pt idx="27">
                  <c:v>9.9849999999999994</c:v>
                </c:pt>
                <c:pt idx="28">
                  <c:v>9.8550000000000004</c:v>
                </c:pt>
                <c:pt idx="29">
                  <c:v>10.050000000000001</c:v>
                </c:pt>
                <c:pt idx="30">
                  <c:v>9.65</c:v>
                </c:pt>
                <c:pt idx="31">
                  <c:v>9.75</c:v>
                </c:pt>
                <c:pt idx="32">
                  <c:v>9.5549999999999997</c:v>
                </c:pt>
                <c:pt idx="33">
                  <c:v>9.7650000000000006</c:v>
                </c:pt>
                <c:pt idx="34">
                  <c:v>10.02</c:v>
                </c:pt>
                <c:pt idx="35">
                  <c:v>9.8000000000000007</c:v>
                </c:pt>
                <c:pt idx="36">
                  <c:v>9.6649999999999991</c:v>
                </c:pt>
                <c:pt idx="37">
                  <c:v>9.51</c:v>
                </c:pt>
                <c:pt idx="38">
                  <c:v>9.6850000000000005</c:v>
                </c:pt>
                <c:pt idx="39">
                  <c:v>9.36</c:v>
                </c:pt>
                <c:pt idx="40">
                  <c:v>9.27</c:v>
                </c:pt>
                <c:pt idx="41">
                  <c:v>9.2449999999999992</c:v>
                </c:pt>
                <c:pt idx="42">
                  <c:v>9.2299999999999986</c:v>
                </c:pt>
                <c:pt idx="43">
                  <c:v>9.1549999999999994</c:v>
                </c:pt>
                <c:pt idx="44">
                  <c:v>9.01</c:v>
                </c:pt>
                <c:pt idx="45">
                  <c:v>8.6349999999999998</c:v>
                </c:pt>
                <c:pt idx="46">
                  <c:v>9</c:v>
                </c:pt>
                <c:pt idx="47">
                  <c:v>9.2449999999999992</c:v>
                </c:pt>
                <c:pt idx="48">
                  <c:v>9.07</c:v>
                </c:pt>
                <c:pt idx="49">
                  <c:v>9.0400000000000009</c:v>
                </c:pt>
                <c:pt idx="50">
                  <c:v>9.1850000000000005</c:v>
                </c:pt>
                <c:pt idx="51">
                  <c:v>9.3350000000000026</c:v>
                </c:pt>
                <c:pt idx="52">
                  <c:v>9.2850000000000001</c:v>
                </c:pt>
                <c:pt idx="53">
                  <c:v>9.0549999999999997</c:v>
                </c:pt>
                <c:pt idx="54">
                  <c:v>9.2750000000000004</c:v>
                </c:pt>
                <c:pt idx="55">
                  <c:v>9.0649999999999995</c:v>
                </c:pt>
                <c:pt idx="56">
                  <c:v>8.9350000000000005</c:v>
                </c:pt>
                <c:pt idx="57">
                  <c:v>8.81</c:v>
                </c:pt>
                <c:pt idx="58">
                  <c:v>8.875</c:v>
                </c:pt>
                <c:pt idx="59">
                  <c:v>9.1950000000000003</c:v>
                </c:pt>
                <c:pt idx="60">
                  <c:v>8.99</c:v>
                </c:pt>
                <c:pt idx="61">
                  <c:v>9.0300000000000011</c:v>
                </c:pt>
                <c:pt idx="62">
                  <c:v>9.0450000000000017</c:v>
                </c:pt>
                <c:pt idx="63">
                  <c:v>9.2349999999999994</c:v>
                </c:pt>
                <c:pt idx="64">
                  <c:v>9.44</c:v>
                </c:pt>
                <c:pt idx="65">
                  <c:v>9.3849999999999998</c:v>
                </c:pt>
                <c:pt idx="66">
                  <c:v>9.0749999999999993</c:v>
                </c:pt>
                <c:pt idx="67">
                  <c:v>9.2200000000000006</c:v>
                </c:pt>
                <c:pt idx="68">
                  <c:v>8.61</c:v>
                </c:pt>
                <c:pt idx="69">
                  <c:v>8.6300000000000008</c:v>
                </c:pt>
                <c:pt idx="70">
                  <c:v>8.7650000000000006</c:v>
                </c:pt>
                <c:pt idx="71">
                  <c:v>8.6649999999999991</c:v>
                </c:pt>
                <c:pt idx="72">
                  <c:v>8.7299999999999986</c:v>
                </c:pt>
                <c:pt idx="73">
                  <c:v>8.99</c:v>
                </c:pt>
                <c:pt idx="74">
                  <c:v>9.25</c:v>
                </c:pt>
                <c:pt idx="75">
                  <c:v>8.9450000000000003</c:v>
                </c:pt>
                <c:pt idx="76">
                  <c:v>8.92</c:v>
                </c:pt>
                <c:pt idx="77">
                  <c:v>8.5350000000000001</c:v>
                </c:pt>
                <c:pt idx="78">
                  <c:v>8.5850000000000026</c:v>
                </c:pt>
                <c:pt idx="79">
                  <c:v>8.86</c:v>
                </c:pt>
                <c:pt idx="80">
                  <c:v>9.2000000000000011</c:v>
                </c:pt>
                <c:pt idx="81">
                  <c:v>9.2249999999999996</c:v>
                </c:pt>
                <c:pt idx="82">
                  <c:v>8.93</c:v>
                </c:pt>
                <c:pt idx="83">
                  <c:v>9.0450000000000017</c:v>
                </c:pt>
                <c:pt idx="84">
                  <c:v>8.9600000000000026</c:v>
                </c:pt>
                <c:pt idx="85">
                  <c:v>8.5500000000000007</c:v>
                </c:pt>
                <c:pt idx="86">
                  <c:v>8.65</c:v>
                </c:pt>
                <c:pt idx="87">
                  <c:v>8.2000000000000011</c:v>
                </c:pt>
                <c:pt idx="88">
                  <c:v>8.0350000000000001</c:v>
                </c:pt>
                <c:pt idx="89">
                  <c:v>8.2950000000000017</c:v>
                </c:pt>
                <c:pt idx="90">
                  <c:v>8.2650000000000006</c:v>
                </c:pt>
                <c:pt idx="91">
                  <c:v>7.8849999999999874</c:v>
                </c:pt>
                <c:pt idx="92">
                  <c:v>7.58</c:v>
                </c:pt>
                <c:pt idx="93">
                  <c:v>7.54</c:v>
                </c:pt>
                <c:pt idx="94">
                  <c:v>7.38</c:v>
                </c:pt>
                <c:pt idx="95">
                  <c:v>7.585</c:v>
                </c:pt>
                <c:pt idx="96">
                  <c:v>7.92</c:v>
                </c:pt>
                <c:pt idx="97">
                  <c:v>7.63</c:v>
                </c:pt>
                <c:pt idx="98">
                  <c:v>7.6599999999999957</c:v>
                </c:pt>
                <c:pt idx="99">
                  <c:v>7.6849999999999854</c:v>
                </c:pt>
                <c:pt idx="100">
                  <c:v>7.7149999999999874</c:v>
                </c:pt>
                <c:pt idx="101">
                  <c:v>7.88</c:v>
                </c:pt>
                <c:pt idx="102">
                  <c:v>7.6199999999999957</c:v>
                </c:pt>
                <c:pt idx="103">
                  <c:v>7.43</c:v>
                </c:pt>
                <c:pt idx="104">
                  <c:v>7.2949999999999946</c:v>
                </c:pt>
                <c:pt idx="105">
                  <c:v>7.28</c:v>
                </c:pt>
                <c:pt idx="106">
                  <c:v>7.37</c:v>
                </c:pt>
                <c:pt idx="107">
                  <c:v>7.6249999999999778</c:v>
                </c:pt>
                <c:pt idx="108">
                  <c:v>7.98</c:v>
                </c:pt>
                <c:pt idx="109">
                  <c:v>7.94</c:v>
                </c:pt>
                <c:pt idx="110">
                  <c:v>7.76</c:v>
                </c:pt>
                <c:pt idx="111">
                  <c:v>7.71</c:v>
                </c:pt>
                <c:pt idx="112">
                  <c:v>7.4349999999999996</c:v>
                </c:pt>
                <c:pt idx="113">
                  <c:v>7.6</c:v>
                </c:pt>
                <c:pt idx="114">
                  <c:v>7.95</c:v>
                </c:pt>
                <c:pt idx="115">
                  <c:v>7.9249999999999874</c:v>
                </c:pt>
                <c:pt idx="116">
                  <c:v>8.2950000000000017</c:v>
                </c:pt>
                <c:pt idx="117">
                  <c:v>8.7900000000000009</c:v>
                </c:pt>
                <c:pt idx="118">
                  <c:v>8.75</c:v>
                </c:pt>
                <c:pt idx="119">
                  <c:v>8.5150000000000006</c:v>
                </c:pt>
                <c:pt idx="120">
                  <c:v>8.1950000000000003</c:v>
                </c:pt>
                <c:pt idx="121">
                  <c:v>8.2650000000000006</c:v>
                </c:pt>
                <c:pt idx="122">
                  <c:v>8.36</c:v>
                </c:pt>
                <c:pt idx="123">
                  <c:v>8.8550000000000004</c:v>
                </c:pt>
                <c:pt idx="124">
                  <c:v>9.0250000000000004</c:v>
                </c:pt>
                <c:pt idx="125">
                  <c:v>9.3049999999999997</c:v>
                </c:pt>
                <c:pt idx="126">
                  <c:v>9.2200000000000006</c:v>
                </c:pt>
                <c:pt idx="127">
                  <c:v>9.0549999999999997</c:v>
                </c:pt>
                <c:pt idx="128">
                  <c:v>8.92</c:v>
                </c:pt>
                <c:pt idx="129">
                  <c:v>8.84</c:v>
                </c:pt>
                <c:pt idx="130">
                  <c:v>9.2550000000000008</c:v>
                </c:pt>
                <c:pt idx="131">
                  <c:v>8.8800000000000008</c:v>
                </c:pt>
                <c:pt idx="132">
                  <c:v>8.7000000000000011</c:v>
                </c:pt>
                <c:pt idx="133">
                  <c:v>8.8149999999999995</c:v>
                </c:pt>
                <c:pt idx="134">
                  <c:v>8.9</c:v>
                </c:pt>
                <c:pt idx="135">
                  <c:v>8.85</c:v>
                </c:pt>
                <c:pt idx="136">
                  <c:v>8.7449999999999992</c:v>
                </c:pt>
                <c:pt idx="137">
                  <c:v>8.56</c:v>
                </c:pt>
                <c:pt idx="138">
                  <c:v>8.2850000000000001</c:v>
                </c:pt>
                <c:pt idx="139">
                  <c:v>8.0050000000000008</c:v>
                </c:pt>
                <c:pt idx="140">
                  <c:v>7.96</c:v>
                </c:pt>
                <c:pt idx="141">
                  <c:v>8.0749999999999993</c:v>
                </c:pt>
                <c:pt idx="142">
                  <c:v>8.4149999999999991</c:v>
                </c:pt>
                <c:pt idx="143">
                  <c:v>8.3700000000000028</c:v>
                </c:pt>
                <c:pt idx="144">
                  <c:v>8.7050000000000001</c:v>
                </c:pt>
                <c:pt idx="145">
                  <c:v>8.61</c:v>
                </c:pt>
                <c:pt idx="146">
                  <c:v>8.620000000000001</c:v>
                </c:pt>
                <c:pt idx="147">
                  <c:v>7.9</c:v>
                </c:pt>
                <c:pt idx="148">
                  <c:v>7.93</c:v>
                </c:pt>
                <c:pt idx="149">
                  <c:v>8.08</c:v>
                </c:pt>
                <c:pt idx="150">
                  <c:v>8.39</c:v>
                </c:pt>
                <c:pt idx="151">
                  <c:v>8.1050000000000004</c:v>
                </c:pt>
                <c:pt idx="152">
                  <c:v>8.2349999999999994</c:v>
                </c:pt>
                <c:pt idx="153">
                  <c:v>8.19</c:v>
                </c:pt>
                <c:pt idx="154">
                  <c:v>8.18</c:v>
                </c:pt>
                <c:pt idx="155">
                  <c:v>8.2150000000000016</c:v>
                </c:pt>
                <c:pt idx="156">
                  <c:v>8.2650000000000006</c:v>
                </c:pt>
                <c:pt idx="157">
                  <c:v>8.3700000000000028</c:v>
                </c:pt>
                <c:pt idx="158">
                  <c:v>8.4849999999999994</c:v>
                </c:pt>
                <c:pt idx="159">
                  <c:v>8.4</c:v>
                </c:pt>
                <c:pt idx="160">
                  <c:v>8.6150000000000002</c:v>
                </c:pt>
                <c:pt idx="161">
                  <c:v>8.4499999999999993</c:v>
                </c:pt>
                <c:pt idx="162">
                  <c:v>8.41</c:v>
                </c:pt>
                <c:pt idx="163">
                  <c:v>8.3650000000000002</c:v>
                </c:pt>
                <c:pt idx="164">
                  <c:v>8.57</c:v>
                </c:pt>
                <c:pt idx="165">
                  <c:v>8.51</c:v>
                </c:pt>
                <c:pt idx="166">
                  <c:v>8.6950000000000003</c:v>
                </c:pt>
                <c:pt idx="167">
                  <c:v>8.82</c:v>
                </c:pt>
                <c:pt idx="168">
                  <c:v>9.16</c:v>
                </c:pt>
                <c:pt idx="169">
                  <c:v>9.57</c:v>
                </c:pt>
                <c:pt idx="170">
                  <c:v>9.4</c:v>
                </c:pt>
                <c:pt idx="171">
                  <c:v>9.6050000000000004</c:v>
                </c:pt>
                <c:pt idx="172">
                  <c:v>9.6449999999999996</c:v>
                </c:pt>
                <c:pt idx="173">
                  <c:v>9.8249999999999993</c:v>
                </c:pt>
                <c:pt idx="174">
                  <c:v>9.8149999999999995</c:v>
                </c:pt>
                <c:pt idx="175">
                  <c:v>10.01</c:v>
                </c:pt>
                <c:pt idx="176">
                  <c:v>10.37</c:v>
                </c:pt>
                <c:pt idx="177">
                  <c:v>10.25</c:v>
                </c:pt>
                <c:pt idx="178">
                  <c:v>10.52</c:v>
                </c:pt>
                <c:pt idx="179">
                  <c:v>10.24</c:v>
                </c:pt>
                <c:pt idx="180">
                  <c:v>9.9700000000000006</c:v>
                </c:pt>
                <c:pt idx="181">
                  <c:v>10.11</c:v>
                </c:pt>
                <c:pt idx="182">
                  <c:v>10.050000000000001</c:v>
                </c:pt>
                <c:pt idx="183">
                  <c:v>10.130000000000001</c:v>
                </c:pt>
                <c:pt idx="184">
                  <c:v>9.9600000000000026</c:v>
                </c:pt>
                <c:pt idx="185">
                  <c:v>10.07</c:v>
                </c:pt>
                <c:pt idx="186">
                  <c:v>9.9149999999999991</c:v>
                </c:pt>
                <c:pt idx="187">
                  <c:v>10.27</c:v>
                </c:pt>
                <c:pt idx="188">
                  <c:v>10.199999999999999</c:v>
                </c:pt>
                <c:pt idx="189">
                  <c:v>10.39</c:v>
                </c:pt>
                <c:pt idx="190">
                  <c:v>10.63</c:v>
                </c:pt>
                <c:pt idx="191">
                  <c:v>10.53</c:v>
                </c:pt>
                <c:pt idx="192">
                  <c:v>10.44</c:v>
                </c:pt>
                <c:pt idx="193">
                  <c:v>10.94</c:v>
                </c:pt>
                <c:pt idx="194">
                  <c:v>10.83</c:v>
                </c:pt>
                <c:pt idx="195">
                  <c:v>11.11</c:v>
                </c:pt>
                <c:pt idx="196">
                  <c:v>11.09</c:v>
                </c:pt>
                <c:pt idx="197">
                  <c:v>10.85</c:v>
                </c:pt>
                <c:pt idx="198">
                  <c:v>10.96</c:v>
                </c:pt>
                <c:pt idx="199">
                  <c:v>10.92</c:v>
                </c:pt>
                <c:pt idx="200">
                  <c:v>10.66</c:v>
                </c:pt>
                <c:pt idx="201">
                  <c:v>10.62</c:v>
                </c:pt>
                <c:pt idx="202">
                  <c:v>10.78</c:v>
                </c:pt>
                <c:pt idx="203">
                  <c:v>10.31</c:v>
                </c:pt>
                <c:pt idx="204">
                  <c:v>10.1</c:v>
                </c:pt>
                <c:pt idx="205">
                  <c:v>9.9049999999999994</c:v>
                </c:pt>
                <c:pt idx="206">
                  <c:v>10.02</c:v>
                </c:pt>
                <c:pt idx="207">
                  <c:v>9.91</c:v>
                </c:pt>
                <c:pt idx="208">
                  <c:v>9.5649999999999995</c:v>
                </c:pt>
                <c:pt idx="209">
                  <c:v>9.7299999999999986</c:v>
                </c:pt>
                <c:pt idx="210">
                  <c:v>9.6399999999999988</c:v>
                </c:pt>
                <c:pt idx="211">
                  <c:v>9.6449999999999996</c:v>
                </c:pt>
                <c:pt idx="212">
                  <c:v>9.92</c:v>
                </c:pt>
                <c:pt idx="213">
                  <c:v>9.7050000000000001</c:v>
                </c:pt>
                <c:pt idx="214">
                  <c:v>9.6449999999999996</c:v>
                </c:pt>
                <c:pt idx="215">
                  <c:v>9.5050000000000008</c:v>
                </c:pt>
                <c:pt idx="216">
                  <c:v>9.32</c:v>
                </c:pt>
                <c:pt idx="217">
                  <c:v>9.4149999999999991</c:v>
                </c:pt>
                <c:pt idx="218">
                  <c:v>9.39</c:v>
                </c:pt>
                <c:pt idx="219">
                  <c:v>9.2900000000000009</c:v>
                </c:pt>
                <c:pt idx="220">
                  <c:v>9.2650000000000006</c:v>
                </c:pt>
                <c:pt idx="221">
                  <c:v>9.2000000000000011</c:v>
                </c:pt>
                <c:pt idx="222">
                  <c:v>9.16</c:v>
                </c:pt>
                <c:pt idx="223">
                  <c:v>8.92</c:v>
                </c:pt>
                <c:pt idx="224">
                  <c:v>9.5250000000000004</c:v>
                </c:pt>
                <c:pt idx="225">
                  <c:v>9.5250000000000004</c:v>
                </c:pt>
                <c:pt idx="226">
                  <c:v>9.65</c:v>
                </c:pt>
                <c:pt idx="227">
                  <c:v>9.9</c:v>
                </c:pt>
                <c:pt idx="228">
                  <c:v>9.81</c:v>
                </c:pt>
                <c:pt idx="229">
                  <c:v>9.7299999999999986</c:v>
                </c:pt>
                <c:pt idx="230">
                  <c:v>9.6950000000000003</c:v>
                </c:pt>
                <c:pt idx="231">
                  <c:v>9.76</c:v>
                </c:pt>
                <c:pt idx="232">
                  <c:v>9.85</c:v>
                </c:pt>
                <c:pt idx="233">
                  <c:v>9.8249999999999993</c:v>
                </c:pt>
                <c:pt idx="234">
                  <c:v>9.8249999999999993</c:v>
                </c:pt>
                <c:pt idx="235">
                  <c:v>9.8149999999999995</c:v>
                </c:pt>
                <c:pt idx="236">
                  <c:v>9.7650000000000006</c:v>
                </c:pt>
                <c:pt idx="237">
                  <c:v>10.050000000000001</c:v>
                </c:pt>
                <c:pt idx="238">
                  <c:v>9.9499999999999993</c:v>
                </c:pt>
                <c:pt idx="239">
                  <c:v>10.039999999999999</c:v>
                </c:pt>
                <c:pt idx="240">
                  <c:v>9.68</c:v>
                </c:pt>
                <c:pt idx="241">
                  <c:v>9.61</c:v>
                </c:pt>
                <c:pt idx="242">
                  <c:v>9.5450000000000017</c:v>
                </c:pt>
                <c:pt idx="243">
                  <c:v>9.5950000000000006</c:v>
                </c:pt>
                <c:pt idx="244">
                  <c:v>9.76</c:v>
                </c:pt>
                <c:pt idx="245">
                  <c:v>9.84</c:v>
                </c:pt>
                <c:pt idx="246">
                  <c:v>9.75</c:v>
                </c:pt>
                <c:pt idx="247">
                  <c:v>9.7000000000000011</c:v>
                </c:pt>
                <c:pt idx="248">
                  <c:v>9.82</c:v>
                </c:pt>
                <c:pt idx="249">
                  <c:v>9.77</c:v>
                </c:pt>
                <c:pt idx="250">
                  <c:v>10.34</c:v>
                </c:pt>
                <c:pt idx="251">
                  <c:v>10.4</c:v>
                </c:pt>
                <c:pt idx="252">
                  <c:v>10.27</c:v>
                </c:pt>
                <c:pt idx="253">
                  <c:v>10.24</c:v>
                </c:pt>
                <c:pt idx="254">
                  <c:v>10.36</c:v>
                </c:pt>
                <c:pt idx="255">
                  <c:v>10.74</c:v>
                </c:pt>
                <c:pt idx="256">
                  <c:v>10.6</c:v>
                </c:pt>
                <c:pt idx="257">
                  <c:v>10.63</c:v>
                </c:pt>
                <c:pt idx="258">
                  <c:v>10.3</c:v>
                </c:pt>
                <c:pt idx="259">
                  <c:v>10.130000000000001</c:v>
                </c:pt>
                <c:pt idx="260">
                  <c:v>10.55</c:v>
                </c:pt>
                <c:pt idx="261">
                  <c:v>10.69</c:v>
                </c:pt>
                <c:pt idx="262">
                  <c:v>10.83</c:v>
                </c:pt>
                <c:pt idx="263">
                  <c:v>11.02</c:v>
                </c:pt>
                <c:pt idx="264">
                  <c:v>11.05</c:v>
                </c:pt>
                <c:pt idx="265">
                  <c:v>10.96</c:v>
                </c:pt>
                <c:pt idx="266">
                  <c:v>10.81</c:v>
                </c:pt>
                <c:pt idx="267">
                  <c:v>11.01</c:v>
                </c:pt>
                <c:pt idx="268">
                  <c:v>11</c:v>
                </c:pt>
                <c:pt idx="269">
                  <c:v>11.07</c:v>
                </c:pt>
                <c:pt idx="270">
                  <c:v>11.89</c:v>
                </c:pt>
                <c:pt idx="271">
                  <c:v>11.75</c:v>
                </c:pt>
                <c:pt idx="272">
                  <c:v>12.06</c:v>
                </c:pt>
                <c:pt idx="273">
                  <c:v>11.89</c:v>
                </c:pt>
                <c:pt idx="274">
                  <c:v>10.96</c:v>
                </c:pt>
                <c:pt idx="275">
                  <c:v>10.83</c:v>
                </c:pt>
                <c:pt idx="276">
                  <c:v>10.85</c:v>
                </c:pt>
                <c:pt idx="277">
                  <c:v>10.98</c:v>
                </c:pt>
                <c:pt idx="278">
                  <c:v>10.93</c:v>
                </c:pt>
                <c:pt idx="279">
                  <c:v>11.26</c:v>
                </c:pt>
                <c:pt idx="280">
                  <c:v>11.42</c:v>
                </c:pt>
                <c:pt idx="281">
                  <c:v>11.24</c:v>
                </c:pt>
                <c:pt idx="282">
                  <c:v>11.18</c:v>
                </c:pt>
                <c:pt idx="283">
                  <c:v>11.09</c:v>
                </c:pt>
                <c:pt idx="284">
                  <c:v>11.34</c:v>
                </c:pt>
                <c:pt idx="285">
                  <c:v>11.66</c:v>
                </c:pt>
                <c:pt idx="286">
                  <c:v>11.4</c:v>
                </c:pt>
                <c:pt idx="287">
                  <c:v>11.7</c:v>
                </c:pt>
                <c:pt idx="288">
                  <c:v>11.65</c:v>
                </c:pt>
                <c:pt idx="289">
                  <c:v>11.4</c:v>
                </c:pt>
                <c:pt idx="290">
                  <c:v>11.52</c:v>
                </c:pt>
                <c:pt idx="291">
                  <c:v>11.53</c:v>
                </c:pt>
                <c:pt idx="292">
                  <c:v>11.42</c:v>
                </c:pt>
                <c:pt idx="293">
                  <c:v>11.31</c:v>
                </c:pt>
                <c:pt idx="294">
                  <c:v>11.42</c:v>
                </c:pt>
                <c:pt idx="295">
                  <c:v>11.3</c:v>
                </c:pt>
                <c:pt idx="296">
                  <c:v>11.26</c:v>
                </c:pt>
                <c:pt idx="297">
                  <c:v>11.26</c:v>
                </c:pt>
                <c:pt idx="298">
                  <c:v>11.18</c:v>
                </c:pt>
                <c:pt idx="299">
                  <c:v>11.36</c:v>
                </c:pt>
                <c:pt idx="300">
                  <c:v>11.35</c:v>
                </c:pt>
                <c:pt idx="301">
                  <c:v>11.36</c:v>
                </c:pt>
                <c:pt idx="302">
                  <c:v>11.42</c:v>
                </c:pt>
                <c:pt idx="303">
                  <c:v>11.24</c:v>
                </c:pt>
                <c:pt idx="304">
                  <c:v>11.22</c:v>
                </c:pt>
                <c:pt idx="305">
                  <c:v>11.43</c:v>
                </c:pt>
                <c:pt idx="306">
                  <c:v>11.08</c:v>
                </c:pt>
                <c:pt idx="307">
                  <c:v>10.96</c:v>
                </c:pt>
                <c:pt idx="308">
                  <c:v>10.99</c:v>
                </c:pt>
                <c:pt idx="309">
                  <c:v>11.13</c:v>
                </c:pt>
                <c:pt idx="310">
                  <c:v>10.94</c:v>
                </c:pt>
                <c:pt idx="311">
                  <c:v>11</c:v>
                </c:pt>
                <c:pt idx="312">
                  <c:v>11.49</c:v>
                </c:pt>
                <c:pt idx="313">
                  <c:v>12.04</c:v>
                </c:pt>
                <c:pt idx="314">
                  <c:v>11.66</c:v>
                </c:pt>
                <c:pt idx="315">
                  <c:v>11.01</c:v>
                </c:pt>
                <c:pt idx="316">
                  <c:v>10.95</c:v>
                </c:pt>
                <c:pt idx="317">
                  <c:v>11.22</c:v>
                </c:pt>
                <c:pt idx="318">
                  <c:v>11.35</c:v>
                </c:pt>
                <c:pt idx="319">
                  <c:v>11.52</c:v>
                </c:pt>
                <c:pt idx="320">
                  <c:v>11.32</c:v>
                </c:pt>
                <c:pt idx="321">
                  <c:v>11.16</c:v>
                </c:pt>
                <c:pt idx="322">
                  <c:v>11.25</c:v>
                </c:pt>
                <c:pt idx="323">
                  <c:v>11.07</c:v>
                </c:pt>
                <c:pt idx="324">
                  <c:v>11</c:v>
                </c:pt>
                <c:pt idx="325">
                  <c:v>11.15</c:v>
                </c:pt>
                <c:pt idx="326">
                  <c:v>11.35</c:v>
                </c:pt>
                <c:pt idx="327">
                  <c:v>11.36</c:v>
                </c:pt>
                <c:pt idx="328">
                  <c:v>11.84</c:v>
                </c:pt>
                <c:pt idx="329">
                  <c:v>12.11</c:v>
                </c:pt>
                <c:pt idx="330">
                  <c:v>11.96</c:v>
                </c:pt>
                <c:pt idx="331">
                  <c:v>12.14</c:v>
                </c:pt>
                <c:pt idx="332">
                  <c:v>11.83</c:v>
                </c:pt>
                <c:pt idx="333">
                  <c:v>11.59</c:v>
                </c:pt>
                <c:pt idx="334">
                  <c:v>11.86</c:v>
                </c:pt>
                <c:pt idx="335">
                  <c:v>11.92</c:v>
                </c:pt>
                <c:pt idx="336">
                  <c:v>12.05</c:v>
                </c:pt>
                <c:pt idx="337">
                  <c:v>12.39</c:v>
                </c:pt>
                <c:pt idx="338">
                  <c:v>12.42</c:v>
                </c:pt>
                <c:pt idx="339">
                  <c:v>12.07</c:v>
                </c:pt>
                <c:pt idx="340">
                  <c:v>12.05</c:v>
                </c:pt>
                <c:pt idx="341">
                  <c:v>12.16</c:v>
                </c:pt>
                <c:pt idx="342">
                  <c:v>12.44</c:v>
                </c:pt>
                <c:pt idx="343">
                  <c:v>12.34</c:v>
                </c:pt>
                <c:pt idx="344">
                  <c:v>12.41</c:v>
                </c:pt>
                <c:pt idx="345">
                  <c:v>12.36</c:v>
                </c:pt>
                <c:pt idx="346">
                  <c:v>12.5</c:v>
                </c:pt>
                <c:pt idx="347">
                  <c:v>12.13</c:v>
                </c:pt>
                <c:pt idx="348">
                  <c:v>11.96</c:v>
                </c:pt>
                <c:pt idx="349">
                  <c:v>11.92</c:v>
                </c:pt>
                <c:pt idx="350">
                  <c:v>11.87</c:v>
                </c:pt>
                <c:pt idx="351">
                  <c:v>11.62</c:v>
                </c:pt>
                <c:pt idx="352">
                  <c:v>11.48</c:v>
                </c:pt>
                <c:pt idx="353">
                  <c:v>11.29</c:v>
                </c:pt>
                <c:pt idx="354">
                  <c:v>11.17</c:v>
                </c:pt>
                <c:pt idx="355">
                  <c:v>11.12</c:v>
                </c:pt>
                <c:pt idx="356">
                  <c:v>10.92</c:v>
                </c:pt>
                <c:pt idx="357">
                  <c:v>10.74</c:v>
                </c:pt>
                <c:pt idx="358">
                  <c:v>10.91</c:v>
                </c:pt>
                <c:pt idx="359">
                  <c:v>11.03</c:v>
                </c:pt>
                <c:pt idx="360">
                  <c:v>10.85</c:v>
                </c:pt>
                <c:pt idx="361">
                  <c:v>10.84</c:v>
                </c:pt>
                <c:pt idx="362">
                  <c:v>10.95</c:v>
                </c:pt>
                <c:pt idx="363">
                  <c:v>11.06</c:v>
                </c:pt>
                <c:pt idx="364">
                  <c:v>11.02</c:v>
                </c:pt>
                <c:pt idx="365">
                  <c:v>11.02</c:v>
                </c:pt>
                <c:pt idx="366">
                  <c:v>11.17</c:v>
                </c:pt>
                <c:pt idx="367">
                  <c:v>10.86</c:v>
                </c:pt>
                <c:pt idx="368">
                  <c:v>10.42</c:v>
                </c:pt>
                <c:pt idx="369">
                  <c:v>10.75</c:v>
                </c:pt>
                <c:pt idx="370">
                  <c:v>10.96</c:v>
                </c:pt>
                <c:pt idx="371">
                  <c:v>11.14</c:v>
                </c:pt>
                <c:pt idx="372">
                  <c:v>11.24</c:v>
                </c:pt>
                <c:pt idx="373">
                  <c:v>11.42</c:v>
                </c:pt>
                <c:pt idx="374">
                  <c:v>11.32</c:v>
                </c:pt>
                <c:pt idx="375">
                  <c:v>11.11</c:v>
                </c:pt>
                <c:pt idx="376">
                  <c:v>11.04</c:v>
                </c:pt>
                <c:pt idx="377">
                  <c:v>11.03</c:v>
                </c:pt>
                <c:pt idx="378">
                  <c:v>11.05</c:v>
                </c:pt>
                <c:pt idx="379">
                  <c:v>11.2</c:v>
                </c:pt>
                <c:pt idx="380">
                  <c:v>11.05</c:v>
                </c:pt>
                <c:pt idx="381">
                  <c:v>11.37</c:v>
                </c:pt>
                <c:pt idx="382">
                  <c:v>11.3</c:v>
                </c:pt>
                <c:pt idx="383">
                  <c:v>11.25</c:v>
                </c:pt>
                <c:pt idx="384">
                  <c:v>11.33</c:v>
                </c:pt>
                <c:pt idx="385">
                  <c:v>11.42</c:v>
                </c:pt>
                <c:pt idx="386">
                  <c:v>11.43</c:v>
                </c:pt>
                <c:pt idx="387">
                  <c:v>11.42</c:v>
                </c:pt>
                <c:pt idx="388">
                  <c:v>11.45</c:v>
                </c:pt>
                <c:pt idx="389">
                  <c:v>11.2</c:v>
                </c:pt>
                <c:pt idx="390">
                  <c:v>11.32</c:v>
                </c:pt>
                <c:pt idx="391">
                  <c:v>11.25</c:v>
                </c:pt>
                <c:pt idx="392">
                  <c:v>11.21</c:v>
                </c:pt>
                <c:pt idx="393">
                  <c:v>11.14</c:v>
                </c:pt>
                <c:pt idx="394">
                  <c:v>10.83</c:v>
                </c:pt>
                <c:pt idx="395">
                  <c:v>10.89</c:v>
                </c:pt>
                <c:pt idx="396">
                  <c:v>13.47</c:v>
                </c:pt>
                <c:pt idx="397">
                  <c:v>13.18</c:v>
                </c:pt>
                <c:pt idx="398">
                  <c:v>13.26</c:v>
                </c:pt>
                <c:pt idx="399">
                  <c:v>13.34</c:v>
                </c:pt>
                <c:pt idx="400">
                  <c:v>13.17</c:v>
                </c:pt>
                <c:pt idx="401">
                  <c:v>13.16</c:v>
                </c:pt>
                <c:pt idx="402">
                  <c:v>13.16</c:v>
                </c:pt>
                <c:pt idx="403">
                  <c:v>13.14</c:v>
                </c:pt>
                <c:pt idx="404">
                  <c:v>13.17</c:v>
                </c:pt>
                <c:pt idx="405">
                  <c:v>13.25</c:v>
                </c:pt>
                <c:pt idx="406">
                  <c:v>13.23</c:v>
                </c:pt>
                <c:pt idx="407">
                  <c:v>13.21</c:v>
                </c:pt>
                <c:pt idx="408">
                  <c:v>13.17</c:v>
                </c:pt>
                <c:pt idx="409">
                  <c:v>13</c:v>
                </c:pt>
                <c:pt idx="410">
                  <c:v>13.13</c:v>
                </c:pt>
                <c:pt idx="411">
                  <c:v>13.4</c:v>
                </c:pt>
                <c:pt idx="412">
                  <c:v>13.76</c:v>
                </c:pt>
                <c:pt idx="413">
                  <c:v>13.75</c:v>
                </c:pt>
                <c:pt idx="414">
                  <c:v>14.04</c:v>
                </c:pt>
                <c:pt idx="415">
                  <c:v>13.84</c:v>
                </c:pt>
                <c:pt idx="416">
                  <c:v>14.12</c:v>
                </c:pt>
                <c:pt idx="417">
                  <c:v>13.9</c:v>
                </c:pt>
                <c:pt idx="418">
                  <c:v>14.28</c:v>
                </c:pt>
                <c:pt idx="419">
                  <c:v>14.7</c:v>
                </c:pt>
                <c:pt idx="420">
                  <c:v>15.2</c:v>
                </c:pt>
                <c:pt idx="421">
                  <c:v>15.19</c:v>
                </c:pt>
                <c:pt idx="422">
                  <c:v>15.38</c:v>
                </c:pt>
                <c:pt idx="423">
                  <c:v>15.31</c:v>
                </c:pt>
                <c:pt idx="424">
                  <c:v>17.329999999999991</c:v>
                </c:pt>
                <c:pt idx="425">
                  <c:v>16.7</c:v>
                </c:pt>
                <c:pt idx="426">
                  <c:v>16.61</c:v>
                </c:pt>
                <c:pt idx="427">
                  <c:v>17.12</c:v>
                </c:pt>
                <c:pt idx="428">
                  <c:v>17.239999999999991</c:v>
                </c:pt>
                <c:pt idx="429">
                  <c:v>16.82</c:v>
                </c:pt>
                <c:pt idx="430">
                  <c:v>16.8</c:v>
                </c:pt>
                <c:pt idx="431">
                  <c:v>17.190000000000001</c:v>
                </c:pt>
                <c:pt idx="432">
                  <c:v>17.100000000000001</c:v>
                </c:pt>
                <c:pt idx="433">
                  <c:v>16.82</c:v>
                </c:pt>
                <c:pt idx="434">
                  <c:v>16.93</c:v>
                </c:pt>
                <c:pt idx="435">
                  <c:v>16.29</c:v>
                </c:pt>
                <c:pt idx="436">
                  <c:v>16.45</c:v>
                </c:pt>
                <c:pt idx="437">
                  <c:v>16.66</c:v>
                </c:pt>
                <c:pt idx="438">
                  <c:v>16.350000000000001</c:v>
                </c:pt>
                <c:pt idx="439">
                  <c:v>16.34</c:v>
                </c:pt>
                <c:pt idx="440">
                  <c:v>16.649999999999999</c:v>
                </c:pt>
                <c:pt idx="441">
                  <c:v>16.440000000000001</c:v>
                </c:pt>
                <c:pt idx="442">
                  <c:v>16.57</c:v>
                </c:pt>
                <c:pt idx="443">
                  <c:v>16.420000000000002</c:v>
                </c:pt>
                <c:pt idx="444">
                  <c:v>16.75</c:v>
                </c:pt>
                <c:pt idx="445">
                  <c:v>16.72</c:v>
                </c:pt>
                <c:pt idx="446">
                  <c:v>16.850000000000001</c:v>
                </c:pt>
                <c:pt idx="447">
                  <c:v>15.58</c:v>
                </c:pt>
                <c:pt idx="448">
                  <c:v>15.56</c:v>
                </c:pt>
                <c:pt idx="449">
                  <c:v>15.81</c:v>
                </c:pt>
                <c:pt idx="450">
                  <c:v>15.99</c:v>
                </c:pt>
                <c:pt idx="451">
                  <c:v>15.55</c:v>
                </c:pt>
                <c:pt idx="452">
                  <c:v>15.27</c:v>
                </c:pt>
                <c:pt idx="453">
                  <c:v>15.56</c:v>
                </c:pt>
                <c:pt idx="454">
                  <c:v>15.7</c:v>
                </c:pt>
                <c:pt idx="455">
                  <c:v>15.63</c:v>
                </c:pt>
                <c:pt idx="456">
                  <c:v>15.1</c:v>
                </c:pt>
                <c:pt idx="457">
                  <c:v>15.26</c:v>
                </c:pt>
                <c:pt idx="458">
                  <c:v>15.07</c:v>
                </c:pt>
                <c:pt idx="459">
                  <c:v>14.74</c:v>
                </c:pt>
                <c:pt idx="460">
                  <c:v>14.48</c:v>
                </c:pt>
                <c:pt idx="461">
                  <c:v>14.61</c:v>
                </c:pt>
                <c:pt idx="462">
                  <c:v>14.49</c:v>
                </c:pt>
                <c:pt idx="463">
                  <c:v>14.93</c:v>
                </c:pt>
                <c:pt idx="464">
                  <c:v>15.16</c:v>
                </c:pt>
                <c:pt idx="465">
                  <c:v>15.56</c:v>
                </c:pt>
                <c:pt idx="466">
                  <c:v>15.4</c:v>
                </c:pt>
                <c:pt idx="467">
                  <c:v>15.36</c:v>
                </c:pt>
                <c:pt idx="468">
                  <c:v>15.5</c:v>
                </c:pt>
                <c:pt idx="469">
                  <c:v>15.24</c:v>
                </c:pt>
                <c:pt idx="470">
                  <c:v>15.32</c:v>
                </c:pt>
                <c:pt idx="471">
                  <c:v>15.26</c:v>
                </c:pt>
                <c:pt idx="472">
                  <c:v>15.67</c:v>
                </c:pt>
                <c:pt idx="473">
                  <c:v>14.28</c:v>
                </c:pt>
                <c:pt idx="474">
                  <c:v>14.47</c:v>
                </c:pt>
                <c:pt idx="475">
                  <c:v>14.56</c:v>
                </c:pt>
                <c:pt idx="476">
                  <c:v>14.72</c:v>
                </c:pt>
                <c:pt idx="477">
                  <c:v>14.6</c:v>
                </c:pt>
                <c:pt idx="478">
                  <c:v>14.42</c:v>
                </c:pt>
                <c:pt idx="479">
                  <c:v>14.32</c:v>
                </c:pt>
                <c:pt idx="480">
                  <c:v>14.32</c:v>
                </c:pt>
                <c:pt idx="481">
                  <c:v>14.27</c:v>
                </c:pt>
                <c:pt idx="482">
                  <c:v>14.06</c:v>
                </c:pt>
                <c:pt idx="483">
                  <c:v>13.73</c:v>
                </c:pt>
                <c:pt idx="484">
                  <c:v>13.57</c:v>
                </c:pt>
                <c:pt idx="485">
                  <c:v>13.21</c:v>
                </c:pt>
                <c:pt idx="486">
                  <c:v>13.52</c:v>
                </c:pt>
                <c:pt idx="487">
                  <c:v>13.33</c:v>
                </c:pt>
                <c:pt idx="488">
                  <c:v>13.67</c:v>
                </c:pt>
                <c:pt idx="489">
                  <c:v>14.03</c:v>
                </c:pt>
                <c:pt idx="490">
                  <c:v>13.45</c:v>
                </c:pt>
                <c:pt idx="491">
                  <c:v>13.41</c:v>
                </c:pt>
                <c:pt idx="492">
                  <c:v>13.6</c:v>
                </c:pt>
                <c:pt idx="493">
                  <c:v>13.57</c:v>
                </c:pt>
                <c:pt idx="494">
                  <c:v>13.76</c:v>
                </c:pt>
                <c:pt idx="495">
                  <c:v>13.9</c:v>
                </c:pt>
                <c:pt idx="496">
                  <c:v>14.15</c:v>
                </c:pt>
                <c:pt idx="497">
                  <c:v>14.3</c:v>
                </c:pt>
                <c:pt idx="498">
                  <c:v>14.48</c:v>
                </c:pt>
                <c:pt idx="499">
                  <c:v>14.37</c:v>
                </c:pt>
                <c:pt idx="500">
                  <c:v>14.49</c:v>
                </c:pt>
                <c:pt idx="501">
                  <c:v>14.75</c:v>
                </c:pt>
                <c:pt idx="502">
                  <c:v>14.45</c:v>
                </c:pt>
                <c:pt idx="503">
                  <c:v>14.58</c:v>
                </c:pt>
                <c:pt idx="504">
                  <c:v>14.64</c:v>
                </c:pt>
                <c:pt idx="505">
                  <c:v>14.72</c:v>
                </c:pt>
                <c:pt idx="506">
                  <c:v>14.62</c:v>
                </c:pt>
                <c:pt idx="507">
                  <c:v>14.13</c:v>
                </c:pt>
                <c:pt idx="508">
                  <c:v>14.2</c:v>
                </c:pt>
                <c:pt idx="509">
                  <c:v>14.5</c:v>
                </c:pt>
                <c:pt idx="510">
                  <c:v>14.17</c:v>
                </c:pt>
                <c:pt idx="511">
                  <c:v>14.14</c:v>
                </c:pt>
                <c:pt idx="512">
                  <c:v>14.15</c:v>
                </c:pt>
                <c:pt idx="513">
                  <c:v>14.19</c:v>
                </c:pt>
                <c:pt idx="514">
                  <c:v>13.86</c:v>
                </c:pt>
                <c:pt idx="515">
                  <c:v>13.48</c:v>
                </c:pt>
                <c:pt idx="516">
                  <c:v>13.24</c:v>
                </c:pt>
                <c:pt idx="517">
                  <c:v>13.46</c:v>
                </c:pt>
                <c:pt idx="518">
                  <c:v>13.29</c:v>
                </c:pt>
                <c:pt idx="519">
                  <c:v>13.7</c:v>
                </c:pt>
                <c:pt idx="520">
                  <c:v>13.25</c:v>
                </c:pt>
                <c:pt idx="521">
                  <c:v>13.47</c:v>
                </c:pt>
                <c:pt idx="522">
                  <c:v>14.65</c:v>
                </c:pt>
                <c:pt idx="523">
                  <c:v>14.55</c:v>
                </c:pt>
                <c:pt idx="524">
                  <c:v>14.81</c:v>
                </c:pt>
                <c:pt idx="525">
                  <c:v>15</c:v>
                </c:pt>
                <c:pt idx="526">
                  <c:v>15.2</c:v>
                </c:pt>
                <c:pt idx="527">
                  <c:v>15.59</c:v>
                </c:pt>
                <c:pt idx="528">
                  <c:v>15.3</c:v>
                </c:pt>
                <c:pt idx="529">
                  <c:v>15.5</c:v>
                </c:pt>
                <c:pt idx="530">
                  <c:v>15.58</c:v>
                </c:pt>
                <c:pt idx="531">
                  <c:v>14.9</c:v>
                </c:pt>
                <c:pt idx="532">
                  <c:v>15.34</c:v>
                </c:pt>
                <c:pt idx="533">
                  <c:v>15.09</c:v>
                </c:pt>
                <c:pt idx="534">
                  <c:v>15.15</c:v>
                </c:pt>
                <c:pt idx="535">
                  <c:v>15.09</c:v>
                </c:pt>
                <c:pt idx="536">
                  <c:v>15.27</c:v>
                </c:pt>
                <c:pt idx="537">
                  <c:v>15.29</c:v>
                </c:pt>
                <c:pt idx="538">
                  <c:v>15.3</c:v>
                </c:pt>
                <c:pt idx="539">
                  <c:v>15.36</c:v>
                </c:pt>
                <c:pt idx="540">
                  <c:v>15.51</c:v>
                </c:pt>
                <c:pt idx="541">
                  <c:v>15.09</c:v>
                </c:pt>
                <c:pt idx="542">
                  <c:v>15.34</c:v>
                </c:pt>
                <c:pt idx="543">
                  <c:v>15.45</c:v>
                </c:pt>
                <c:pt idx="544">
                  <c:v>15.7</c:v>
                </c:pt>
                <c:pt idx="545">
                  <c:v>15.48</c:v>
                </c:pt>
                <c:pt idx="546">
                  <c:v>15.48</c:v>
                </c:pt>
                <c:pt idx="547">
                  <c:v>15.25</c:v>
                </c:pt>
                <c:pt idx="548">
                  <c:v>15.14</c:v>
                </c:pt>
                <c:pt idx="549">
                  <c:v>14.95</c:v>
                </c:pt>
                <c:pt idx="550">
                  <c:v>14.76</c:v>
                </c:pt>
                <c:pt idx="551">
                  <c:v>14.86</c:v>
                </c:pt>
                <c:pt idx="552">
                  <c:v>15.03</c:v>
                </c:pt>
                <c:pt idx="553">
                  <c:v>15.15</c:v>
                </c:pt>
                <c:pt idx="554">
                  <c:v>14.78</c:v>
                </c:pt>
                <c:pt idx="555">
                  <c:v>14.76</c:v>
                </c:pt>
                <c:pt idx="556">
                  <c:v>14.63</c:v>
                </c:pt>
                <c:pt idx="557">
                  <c:v>14.77</c:v>
                </c:pt>
                <c:pt idx="558">
                  <c:v>14.72</c:v>
                </c:pt>
                <c:pt idx="559">
                  <c:v>14.54</c:v>
                </c:pt>
                <c:pt idx="560">
                  <c:v>14.58</c:v>
                </c:pt>
                <c:pt idx="561">
                  <c:v>14.8</c:v>
                </c:pt>
                <c:pt idx="562">
                  <c:v>15.02</c:v>
                </c:pt>
                <c:pt idx="563">
                  <c:v>15.86</c:v>
                </c:pt>
                <c:pt idx="564">
                  <c:v>15.89</c:v>
                </c:pt>
                <c:pt idx="565">
                  <c:v>15.6</c:v>
                </c:pt>
                <c:pt idx="566">
                  <c:v>15.43</c:v>
                </c:pt>
                <c:pt idx="567">
                  <c:v>15.32</c:v>
                </c:pt>
                <c:pt idx="568">
                  <c:v>15.28</c:v>
                </c:pt>
                <c:pt idx="569">
                  <c:v>15.13</c:v>
                </c:pt>
                <c:pt idx="570">
                  <c:v>14.9</c:v>
                </c:pt>
                <c:pt idx="571">
                  <c:v>14.72</c:v>
                </c:pt>
                <c:pt idx="572">
                  <c:v>14.58</c:v>
                </c:pt>
                <c:pt idx="573">
                  <c:v>14.98</c:v>
                </c:pt>
                <c:pt idx="574">
                  <c:v>14.77</c:v>
                </c:pt>
                <c:pt idx="575">
                  <c:v>15.19</c:v>
                </c:pt>
                <c:pt idx="576">
                  <c:v>15.28</c:v>
                </c:pt>
                <c:pt idx="577">
                  <c:v>15.57</c:v>
                </c:pt>
                <c:pt idx="578">
                  <c:v>14.78</c:v>
                </c:pt>
                <c:pt idx="579">
                  <c:v>14.72</c:v>
                </c:pt>
                <c:pt idx="580">
                  <c:v>14.95</c:v>
                </c:pt>
                <c:pt idx="581">
                  <c:v>14.8</c:v>
                </c:pt>
                <c:pt idx="582">
                  <c:v>15</c:v>
                </c:pt>
                <c:pt idx="583">
                  <c:v>15.09</c:v>
                </c:pt>
                <c:pt idx="584">
                  <c:v>15.06</c:v>
                </c:pt>
                <c:pt idx="585">
                  <c:v>15</c:v>
                </c:pt>
                <c:pt idx="586">
                  <c:v>15.11</c:v>
                </c:pt>
                <c:pt idx="587">
                  <c:v>15.17</c:v>
                </c:pt>
                <c:pt idx="588">
                  <c:v>15.17</c:v>
                </c:pt>
                <c:pt idx="589">
                  <c:v>15.22</c:v>
                </c:pt>
                <c:pt idx="590">
                  <c:v>15.22</c:v>
                </c:pt>
                <c:pt idx="591">
                  <c:v>15.14</c:v>
                </c:pt>
                <c:pt idx="592">
                  <c:v>15.03</c:v>
                </c:pt>
                <c:pt idx="593">
                  <c:v>15.1</c:v>
                </c:pt>
                <c:pt idx="594">
                  <c:v>15.03</c:v>
                </c:pt>
                <c:pt idx="595">
                  <c:v>15.21</c:v>
                </c:pt>
                <c:pt idx="596">
                  <c:v>15.05</c:v>
                </c:pt>
                <c:pt idx="597">
                  <c:v>15.2</c:v>
                </c:pt>
                <c:pt idx="598">
                  <c:v>15.27</c:v>
                </c:pt>
                <c:pt idx="599">
                  <c:v>15.09</c:v>
                </c:pt>
                <c:pt idx="600">
                  <c:v>14.92</c:v>
                </c:pt>
                <c:pt idx="601">
                  <c:v>15.02</c:v>
                </c:pt>
                <c:pt idx="602">
                  <c:v>15.1</c:v>
                </c:pt>
                <c:pt idx="603">
                  <c:v>15.03</c:v>
                </c:pt>
                <c:pt idx="604">
                  <c:v>14.93</c:v>
                </c:pt>
                <c:pt idx="605">
                  <c:v>14.95</c:v>
                </c:pt>
                <c:pt idx="606">
                  <c:v>15</c:v>
                </c:pt>
                <c:pt idx="607">
                  <c:v>15.19</c:v>
                </c:pt>
                <c:pt idx="608">
                  <c:v>15.14</c:v>
                </c:pt>
                <c:pt idx="609">
                  <c:v>14.97</c:v>
                </c:pt>
                <c:pt idx="610">
                  <c:v>14.82</c:v>
                </c:pt>
                <c:pt idx="611">
                  <c:v>14.98</c:v>
                </c:pt>
                <c:pt idx="612">
                  <c:v>14.89</c:v>
                </c:pt>
                <c:pt idx="613">
                  <c:v>14.94</c:v>
                </c:pt>
                <c:pt idx="614">
                  <c:v>14.99</c:v>
                </c:pt>
                <c:pt idx="615">
                  <c:v>15.04</c:v>
                </c:pt>
                <c:pt idx="616">
                  <c:v>15.14</c:v>
                </c:pt>
                <c:pt idx="617">
                  <c:v>15.08</c:v>
                </c:pt>
                <c:pt idx="618">
                  <c:v>14.74</c:v>
                </c:pt>
                <c:pt idx="619">
                  <c:v>15.09</c:v>
                </c:pt>
                <c:pt idx="620">
                  <c:v>14.88</c:v>
                </c:pt>
                <c:pt idx="621">
                  <c:v>14.25</c:v>
                </c:pt>
                <c:pt idx="622">
                  <c:v>14.37</c:v>
                </c:pt>
                <c:pt idx="623">
                  <c:v>14.21</c:v>
                </c:pt>
                <c:pt idx="624">
                  <c:v>14.5</c:v>
                </c:pt>
                <c:pt idx="625">
                  <c:v>14.34</c:v>
                </c:pt>
                <c:pt idx="626">
                  <c:v>14.06</c:v>
                </c:pt>
                <c:pt idx="627">
                  <c:v>13.81</c:v>
                </c:pt>
                <c:pt idx="628">
                  <c:v>13.68</c:v>
                </c:pt>
                <c:pt idx="629">
                  <c:v>13.5</c:v>
                </c:pt>
                <c:pt idx="630">
                  <c:v>13.45</c:v>
                </c:pt>
                <c:pt idx="631">
                  <c:v>13.69</c:v>
                </c:pt>
                <c:pt idx="632">
                  <c:v>13.61</c:v>
                </c:pt>
                <c:pt idx="633">
                  <c:v>13.72</c:v>
                </c:pt>
                <c:pt idx="634">
                  <c:v>13.66</c:v>
                </c:pt>
                <c:pt idx="635">
                  <c:v>13.59</c:v>
                </c:pt>
                <c:pt idx="636">
                  <c:v>13.58</c:v>
                </c:pt>
                <c:pt idx="637">
                  <c:v>13.57</c:v>
                </c:pt>
                <c:pt idx="638">
                  <c:v>13.83</c:v>
                </c:pt>
                <c:pt idx="639">
                  <c:v>13.7</c:v>
                </c:pt>
                <c:pt idx="640">
                  <c:v>13.78</c:v>
                </c:pt>
                <c:pt idx="641">
                  <c:v>13.83</c:v>
                </c:pt>
                <c:pt idx="642">
                  <c:v>13.92</c:v>
                </c:pt>
                <c:pt idx="643">
                  <c:v>13.97</c:v>
                </c:pt>
                <c:pt idx="644">
                  <c:v>13.8</c:v>
                </c:pt>
                <c:pt idx="645">
                  <c:v>13.81</c:v>
                </c:pt>
                <c:pt idx="646">
                  <c:v>14.11</c:v>
                </c:pt>
                <c:pt idx="647">
                  <c:v>13.99</c:v>
                </c:pt>
                <c:pt idx="648">
                  <c:v>13.99</c:v>
                </c:pt>
                <c:pt idx="649">
                  <c:v>14.19</c:v>
                </c:pt>
                <c:pt idx="650">
                  <c:v>14.32</c:v>
                </c:pt>
                <c:pt idx="651">
                  <c:v>14.56</c:v>
                </c:pt>
                <c:pt idx="652">
                  <c:v>14.5</c:v>
                </c:pt>
                <c:pt idx="653">
                  <c:v>14.6</c:v>
                </c:pt>
                <c:pt idx="654">
                  <c:v>14.62</c:v>
                </c:pt>
                <c:pt idx="655">
                  <c:v>14.56</c:v>
                </c:pt>
                <c:pt idx="656">
                  <c:v>14.5</c:v>
                </c:pt>
                <c:pt idx="657">
                  <c:v>14.63</c:v>
                </c:pt>
                <c:pt idx="658">
                  <c:v>14.56</c:v>
                </c:pt>
                <c:pt idx="659">
                  <c:v>14.61</c:v>
                </c:pt>
                <c:pt idx="660">
                  <c:v>14.72</c:v>
                </c:pt>
                <c:pt idx="661">
                  <c:v>14.71</c:v>
                </c:pt>
                <c:pt idx="662">
                  <c:v>14.99</c:v>
                </c:pt>
                <c:pt idx="663">
                  <c:v>15.05</c:v>
                </c:pt>
                <c:pt idx="664">
                  <c:v>14.84</c:v>
                </c:pt>
                <c:pt idx="665">
                  <c:v>14.9</c:v>
                </c:pt>
                <c:pt idx="666">
                  <c:v>14.88</c:v>
                </c:pt>
                <c:pt idx="667">
                  <c:v>14.9</c:v>
                </c:pt>
                <c:pt idx="668">
                  <c:v>15.24</c:v>
                </c:pt>
                <c:pt idx="669">
                  <c:v>15.46</c:v>
                </c:pt>
                <c:pt idx="670">
                  <c:v>15.23</c:v>
                </c:pt>
                <c:pt idx="671">
                  <c:v>15.38</c:v>
                </c:pt>
                <c:pt idx="672">
                  <c:v>15.31</c:v>
                </c:pt>
                <c:pt idx="673">
                  <c:v>15.38</c:v>
                </c:pt>
                <c:pt idx="674">
                  <c:v>15.15</c:v>
                </c:pt>
                <c:pt idx="675">
                  <c:v>15.33</c:v>
                </c:pt>
                <c:pt idx="676">
                  <c:v>14.87</c:v>
                </c:pt>
                <c:pt idx="677">
                  <c:v>14.99</c:v>
                </c:pt>
                <c:pt idx="678">
                  <c:v>14.93</c:v>
                </c:pt>
                <c:pt idx="679">
                  <c:v>15.56</c:v>
                </c:pt>
                <c:pt idx="680">
                  <c:v>15.69</c:v>
                </c:pt>
                <c:pt idx="681">
                  <c:v>15.6</c:v>
                </c:pt>
                <c:pt idx="682">
                  <c:v>15.87</c:v>
                </c:pt>
                <c:pt idx="683">
                  <c:v>15.83</c:v>
                </c:pt>
                <c:pt idx="684">
                  <c:v>15.61</c:v>
                </c:pt>
                <c:pt idx="685">
                  <c:v>16.2</c:v>
                </c:pt>
                <c:pt idx="686">
                  <c:v>16.21</c:v>
                </c:pt>
                <c:pt idx="687">
                  <c:v>16.3</c:v>
                </c:pt>
                <c:pt idx="688">
                  <c:v>16.55</c:v>
                </c:pt>
                <c:pt idx="689">
                  <c:v>16.11</c:v>
                </c:pt>
                <c:pt idx="690">
                  <c:v>16.100000000000001</c:v>
                </c:pt>
                <c:pt idx="691">
                  <c:v>17.309999999999999</c:v>
                </c:pt>
                <c:pt idx="692">
                  <c:v>16.989999999999981</c:v>
                </c:pt>
                <c:pt idx="693">
                  <c:v>16.11</c:v>
                </c:pt>
                <c:pt idx="694">
                  <c:v>15.82</c:v>
                </c:pt>
                <c:pt idx="695">
                  <c:v>15.96</c:v>
                </c:pt>
                <c:pt idx="696">
                  <c:v>16.09</c:v>
                </c:pt>
                <c:pt idx="697">
                  <c:v>16.100000000000001</c:v>
                </c:pt>
                <c:pt idx="698">
                  <c:v>15.56</c:v>
                </c:pt>
                <c:pt idx="699">
                  <c:v>15.96</c:v>
                </c:pt>
                <c:pt idx="700">
                  <c:v>16.05</c:v>
                </c:pt>
                <c:pt idx="701">
                  <c:v>16.02</c:v>
                </c:pt>
                <c:pt idx="702">
                  <c:v>16.25</c:v>
                </c:pt>
                <c:pt idx="703">
                  <c:v>16.66</c:v>
                </c:pt>
                <c:pt idx="704">
                  <c:v>17.190000000000001</c:v>
                </c:pt>
                <c:pt idx="705">
                  <c:v>16.989999999999981</c:v>
                </c:pt>
                <c:pt idx="706">
                  <c:v>16.850000000000001</c:v>
                </c:pt>
                <c:pt idx="707">
                  <c:v>16.920000000000002</c:v>
                </c:pt>
                <c:pt idx="708">
                  <c:v>16.87</c:v>
                </c:pt>
                <c:pt idx="709">
                  <c:v>16.77</c:v>
                </c:pt>
                <c:pt idx="710">
                  <c:v>17.25</c:v>
                </c:pt>
                <c:pt idx="711">
                  <c:v>17.12</c:v>
                </c:pt>
                <c:pt idx="712">
                  <c:v>17</c:v>
                </c:pt>
                <c:pt idx="713">
                  <c:v>17.84</c:v>
                </c:pt>
                <c:pt idx="714">
                  <c:v>18.28</c:v>
                </c:pt>
                <c:pt idx="715">
                  <c:v>18.28</c:v>
                </c:pt>
                <c:pt idx="716">
                  <c:v>18.239999999999991</c:v>
                </c:pt>
                <c:pt idx="717">
                  <c:v>18.27</c:v>
                </c:pt>
                <c:pt idx="718">
                  <c:v>18.329999999999991</c:v>
                </c:pt>
                <c:pt idx="719">
                  <c:v>18.32</c:v>
                </c:pt>
                <c:pt idx="720">
                  <c:v>18.670000000000009</c:v>
                </c:pt>
                <c:pt idx="721">
                  <c:v>18.600000000000001</c:v>
                </c:pt>
                <c:pt idx="722">
                  <c:v>19.04</c:v>
                </c:pt>
                <c:pt idx="723">
                  <c:v>19.079999999999991</c:v>
                </c:pt>
                <c:pt idx="724">
                  <c:v>19.39</c:v>
                </c:pt>
                <c:pt idx="725">
                  <c:v>18.38</c:v>
                </c:pt>
                <c:pt idx="726">
                  <c:v>18.89</c:v>
                </c:pt>
                <c:pt idx="727">
                  <c:v>18.920000000000002</c:v>
                </c:pt>
                <c:pt idx="728">
                  <c:v>19.27</c:v>
                </c:pt>
                <c:pt idx="729">
                  <c:v>18.89</c:v>
                </c:pt>
                <c:pt idx="730">
                  <c:v>19.079999999999991</c:v>
                </c:pt>
                <c:pt idx="731">
                  <c:v>19.600000000000001</c:v>
                </c:pt>
                <c:pt idx="732">
                  <c:v>19.82</c:v>
                </c:pt>
                <c:pt idx="733">
                  <c:v>20.14</c:v>
                </c:pt>
                <c:pt idx="734">
                  <c:v>20.32</c:v>
                </c:pt>
                <c:pt idx="735">
                  <c:v>20.05</c:v>
                </c:pt>
                <c:pt idx="736">
                  <c:v>19.79</c:v>
                </c:pt>
                <c:pt idx="737">
                  <c:v>19.21</c:v>
                </c:pt>
                <c:pt idx="738">
                  <c:v>19.43</c:v>
                </c:pt>
                <c:pt idx="739">
                  <c:v>19.48</c:v>
                </c:pt>
                <c:pt idx="740">
                  <c:v>18.5</c:v>
                </c:pt>
                <c:pt idx="741">
                  <c:v>18.649999999999999</c:v>
                </c:pt>
                <c:pt idx="742">
                  <c:v>19</c:v>
                </c:pt>
                <c:pt idx="743">
                  <c:v>19.59</c:v>
                </c:pt>
                <c:pt idx="744">
                  <c:v>19.809999999999999</c:v>
                </c:pt>
                <c:pt idx="745">
                  <c:v>19.940000000000001</c:v>
                </c:pt>
                <c:pt idx="746">
                  <c:v>19.82</c:v>
                </c:pt>
                <c:pt idx="747">
                  <c:v>20.239999999999991</c:v>
                </c:pt>
                <c:pt idx="748">
                  <c:v>19.88</c:v>
                </c:pt>
                <c:pt idx="749">
                  <c:v>20.059999999999999</c:v>
                </c:pt>
                <c:pt idx="750">
                  <c:v>20.010000000000009</c:v>
                </c:pt>
                <c:pt idx="751">
                  <c:v>19.91</c:v>
                </c:pt>
                <c:pt idx="752">
                  <c:v>20.6</c:v>
                </c:pt>
                <c:pt idx="753">
                  <c:v>20.81</c:v>
                </c:pt>
                <c:pt idx="754">
                  <c:v>20.32</c:v>
                </c:pt>
                <c:pt idx="755">
                  <c:v>20.75</c:v>
                </c:pt>
                <c:pt idx="756">
                  <c:v>20.7</c:v>
                </c:pt>
                <c:pt idx="757">
                  <c:v>21.02</c:v>
                </c:pt>
                <c:pt idx="758">
                  <c:v>21.55</c:v>
                </c:pt>
                <c:pt idx="759">
                  <c:v>22.17</c:v>
                </c:pt>
                <c:pt idx="760">
                  <c:v>22.23</c:v>
                </c:pt>
                <c:pt idx="761">
                  <c:v>22.3</c:v>
                </c:pt>
                <c:pt idx="762">
                  <c:v>22</c:v>
                </c:pt>
                <c:pt idx="763">
                  <c:v>21.79</c:v>
                </c:pt>
                <c:pt idx="764">
                  <c:v>23.47</c:v>
                </c:pt>
                <c:pt idx="765">
                  <c:v>24.2</c:v>
                </c:pt>
                <c:pt idx="766">
                  <c:v>24</c:v>
                </c:pt>
                <c:pt idx="767">
                  <c:v>24.07</c:v>
                </c:pt>
                <c:pt idx="768">
                  <c:v>24.61</c:v>
                </c:pt>
                <c:pt idx="769">
                  <c:v>24.5</c:v>
                </c:pt>
                <c:pt idx="770">
                  <c:v>24.15</c:v>
                </c:pt>
                <c:pt idx="771">
                  <c:v>24.94</c:v>
                </c:pt>
                <c:pt idx="772">
                  <c:v>23.96</c:v>
                </c:pt>
                <c:pt idx="773">
                  <c:v>23.61</c:v>
                </c:pt>
                <c:pt idx="774">
                  <c:v>23.04</c:v>
                </c:pt>
                <c:pt idx="775">
                  <c:v>22.42</c:v>
                </c:pt>
                <c:pt idx="776">
                  <c:v>22.04</c:v>
                </c:pt>
                <c:pt idx="777">
                  <c:v>22.13</c:v>
                </c:pt>
                <c:pt idx="778">
                  <c:v>21.81</c:v>
                </c:pt>
                <c:pt idx="779">
                  <c:v>22.12</c:v>
                </c:pt>
                <c:pt idx="780">
                  <c:v>22.22</c:v>
                </c:pt>
                <c:pt idx="781">
                  <c:v>22.34</c:v>
                </c:pt>
                <c:pt idx="782">
                  <c:v>22.6</c:v>
                </c:pt>
                <c:pt idx="783">
                  <c:v>22.53</c:v>
                </c:pt>
                <c:pt idx="784">
                  <c:v>22.38</c:v>
                </c:pt>
                <c:pt idx="785">
                  <c:v>22.66</c:v>
                </c:pt>
                <c:pt idx="786">
                  <c:v>23.65</c:v>
                </c:pt>
                <c:pt idx="787">
                  <c:v>23.47</c:v>
                </c:pt>
                <c:pt idx="788">
                  <c:v>23.14</c:v>
                </c:pt>
                <c:pt idx="789">
                  <c:v>23.29</c:v>
                </c:pt>
                <c:pt idx="790">
                  <c:v>23.48</c:v>
                </c:pt>
                <c:pt idx="791">
                  <c:v>22.97</c:v>
                </c:pt>
                <c:pt idx="792">
                  <c:v>23.27</c:v>
                </c:pt>
                <c:pt idx="793">
                  <c:v>23.28</c:v>
                </c:pt>
                <c:pt idx="794">
                  <c:v>23.15</c:v>
                </c:pt>
                <c:pt idx="795">
                  <c:v>23.4</c:v>
                </c:pt>
                <c:pt idx="796">
                  <c:v>23.18</c:v>
                </c:pt>
                <c:pt idx="797">
                  <c:v>23.15</c:v>
                </c:pt>
                <c:pt idx="798">
                  <c:v>23.31</c:v>
                </c:pt>
                <c:pt idx="799">
                  <c:v>23.49</c:v>
                </c:pt>
                <c:pt idx="800">
                  <c:v>24.39</c:v>
                </c:pt>
                <c:pt idx="801">
                  <c:v>24.6</c:v>
                </c:pt>
                <c:pt idx="802">
                  <c:v>24.37</c:v>
                </c:pt>
                <c:pt idx="803">
                  <c:v>24.7</c:v>
                </c:pt>
                <c:pt idx="804">
                  <c:v>24.99</c:v>
                </c:pt>
                <c:pt idx="805">
                  <c:v>24.94</c:v>
                </c:pt>
                <c:pt idx="806">
                  <c:v>24.84</c:v>
                </c:pt>
                <c:pt idx="807">
                  <c:v>25.1</c:v>
                </c:pt>
                <c:pt idx="808">
                  <c:v>24.56</c:v>
                </c:pt>
                <c:pt idx="809">
                  <c:v>24.09</c:v>
                </c:pt>
                <c:pt idx="810">
                  <c:v>25.16</c:v>
                </c:pt>
                <c:pt idx="811">
                  <c:v>24.4</c:v>
                </c:pt>
                <c:pt idx="812">
                  <c:v>24.92</c:v>
                </c:pt>
                <c:pt idx="813">
                  <c:v>24</c:v>
                </c:pt>
                <c:pt idx="814">
                  <c:v>24.5</c:v>
                </c:pt>
                <c:pt idx="815">
                  <c:v>24.03</c:v>
                </c:pt>
                <c:pt idx="816">
                  <c:v>24.61</c:v>
                </c:pt>
                <c:pt idx="817">
                  <c:v>24.69</c:v>
                </c:pt>
                <c:pt idx="818">
                  <c:v>25.49</c:v>
                </c:pt>
                <c:pt idx="819">
                  <c:v>25.16</c:v>
                </c:pt>
                <c:pt idx="820">
                  <c:v>24.77</c:v>
                </c:pt>
                <c:pt idx="821">
                  <c:v>24.96</c:v>
                </c:pt>
                <c:pt idx="822">
                  <c:v>24.79</c:v>
                </c:pt>
                <c:pt idx="823">
                  <c:v>25.07</c:v>
                </c:pt>
                <c:pt idx="824">
                  <c:v>25.99</c:v>
                </c:pt>
                <c:pt idx="825">
                  <c:v>25.51</c:v>
                </c:pt>
                <c:pt idx="826">
                  <c:v>25.6</c:v>
                </c:pt>
                <c:pt idx="827">
                  <c:v>25.68</c:v>
                </c:pt>
                <c:pt idx="828">
                  <c:v>25.69</c:v>
                </c:pt>
                <c:pt idx="829">
                  <c:v>25.3</c:v>
                </c:pt>
                <c:pt idx="830">
                  <c:v>24.43</c:v>
                </c:pt>
                <c:pt idx="831">
                  <c:v>24.26</c:v>
                </c:pt>
                <c:pt idx="832">
                  <c:v>24.35</c:v>
                </c:pt>
                <c:pt idx="833">
                  <c:v>23.25</c:v>
                </c:pt>
                <c:pt idx="834">
                  <c:v>22.59</c:v>
                </c:pt>
                <c:pt idx="835">
                  <c:v>22.81</c:v>
                </c:pt>
                <c:pt idx="836">
                  <c:v>23.12</c:v>
                </c:pt>
                <c:pt idx="837">
                  <c:v>22.9</c:v>
                </c:pt>
                <c:pt idx="838">
                  <c:v>22.27</c:v>
                </c:pt>
                <c:pt idx="839">
                  <c:v>22.55</c:v>
                </c:pt>
                <c:pt idx="840">
                  <c:v>22.5</c:v>
                </c:pt>
                <c:pt idx="841">
                  <c:v>22.34</c:v>
                </c:pt>
                <c:pt idx="842">
                  <c:v>22.98</c:v>
                </c:pt>
                <c:pt idx="843">
                  <c:v>23.39</c:v>
                </c:pt>
                <c:pt idx="844">
                  <c:v>23.28</c:v>
                </c:pt>
                <c:pt idx="845">
                  <c:v>23.14</c:v>
                </c:pt>
                <c:pt idx="846">
                  <c:v>23.02</c:v>
                </c:pt>
                <c:pt idx="847">
                  <c:v>23.06</c:v>
                </c:pt>
                <c:pt idx="848">
                  <c:v>23.13</c:v>
                </c:pt>
                <c:pt idx="849">
                  <c:v>23.38</c:v>
                </c:pt>
                <c:pt idx="850">
                  <c:v>23.06</c:v>
                </c:pt>
                <c:pt idx="851">
                  <c:v>23.54</c:v>
                </c:pt>
                <c:pt idx="852">
                  <c:v>23.77</c:v>
                </c:pt>
                <c:pt idx="853">
                  <c:v>23.7</c:v>
                </c:pt>
                <c:pt idx="854">
                  <c:v>23.44</c:v>
                </c:pt>
                <c:pt idx="855">
                  <c:v>23.41</c:v>
                </c:pt>
                <c:pt idx="856">
                  <c:v>23.13</c:v>
                </c:pt>
                <c:pt idx="857">
                  <c:v>22.66</c:v>
                </c:pt>
                <c:pt idx="858">
                  <c:v>22.33</c:v>
                </c:pt>
                <c:pt idx="859">
                  <c:v>22.48</c:v>
                </c:pt>
                <c:pt idx="860">
                  <c:v>22.2</c:v>
                </c:pt>
                <c:pt idx="861">
                  <c:v>21.78</c:v>
                </c:pt>
                <c:pt idx="862">
                  <c:v>22</c:v>
                </c:pt>
                <c:pt idx="863">
                  <c:v>21.86</c:v>
                </c:pt>
                <c:pt idx="864">
                  <c:v>22.13</c:v>
                </c:pt>
                <c:pt idx="865">
                  <c:v>22.68</c:v>
                </c:pt>
                <c:pt idx="866">
                  <c:v>22.83</c:v>
                </c:pt>
                <c:pt idx="867">
                  <c:v>22.6</c:v>
                </c:pt>
                <c:pt idx="868">
                  <c:v>22.65</c:v>
                </c:pt>
                <c:pt idx="869">
                  <c:v>23.4</c:v>
                </c:pt>
                <c:pt idx="870">
                  <c:v>22.99</c:v>
                </c:pt>
                <c:pt idx="871">
                  <c:v>22.86</c:v>
                </c:pt>
                <c:pt idx="872">
                  <c:v>22.81</c:v>
                </c:pt>
                <c:pt idx="873">
                  <c:v>22.31</c:v>
                </c:pt>
                <c:pt idx="874">
                  <c:v>22.1</c:v>
                </c:pt>
                <c:pt idx="875">
                  <c:v>21.8</c:v>
                </c:pt>
                <c:pt idx="876">
                  <c:v>21.78</c:v>
                </c:pt>
                <c:pt idx="877">
                  <c:v>21.77</c:v>
                </c:pt>
                <c:pt idx="878">
                  <c:v>22.5</c:v>
                </c:pt>
                <c:pt idx="879">
                  <c:v>23.36</c:v>
                </c:pt>
                <c:pt idx="880">
                  <c:v>23.69</c:v>
                </c:pt>
                <c:pt idx="881">
                  <c:v>24.45</c:v>
                </c:pt>
                <c:pt idx="882">
                  <c:v>24.35</c:v>
                </c:pt>
                <c:pt idx="883">
                  <c:v>24.6</c:v>
                </c:pt>
                <c:pt idx="884">
                  <c:v>24.77</c:v>
                </c:pt>
                <c:pt idx="885">
                  <c:v>25.32</c:v>
                </c:pt>
                <c:pt idx="886">
                  <c:v>25.1</c:v>
                </c:pt>
                <c:pt idx="887">
                  <c:v>25.13</c:v>
                </c:pt>
                <c:pt idx="888">
                  <c:v>25.38</c:v>
                </c:pt>
                <c:pt idx="889">
                  <c:v>25.45</c:v>
                </c:pt>
                <c:pt idx="890">
                  <c:v>24.98</c:v>
                </c:pt>
                <c:pt idx="891">
                  <c:v>25.25</c:v>
                </c:pt>
                <c:pt idx="892">
                  <c:v>25.58</c:v>
                </c:pt>
                <c:pt idx="893">
                  <c:v>25.64</c:v>
                </c:pt>
                <c:pt idx="894">
                  <c:v>25.31</c:v>
                </c:pt>
                <c:pt idx="895">
                  <c:v>25.33</c:v>
                </c:pt>
                <c:pt idx="896">
                  <c:v>25.75</c:v>
                </c:pt>
                <c:pt idx="897">
                  <c:v>23.47</c:v>
                </c:pt>
                <c:pt idx="898">
                  <c:v>24.43</c:v>
                </c:pt>
                <c:pt idx="899">
                  <c:v>24.18</c:v>
                </c:pt>
                <c:pt idx="900">
                  <c:v>24.77</c:v>
                </c:pt>
                <c:pt idx="901">
                  <c:v>24.56</c:v>
                </c:pt>
                <c:pt idx="902">
                  <c:v>24.03</c:v>
                </c:pt>
                <c:pt idx="903">
                  <c:v>24.66</c:v>
                </c:pt>
                <c:pt idx="904">
                  <c:v>24.62</c:v>
                </c:pt>
                <c:pt idx="905">
                  <c:v>25.14</c:v>
                </c:pt>
                <c:pt idx="906">
                  <c:v>24.72</c:v>
                </c:pt>
                <c:pt idx="907">
                  <c:v>24.65</c:v>
                </c:pt>
                <c:pt idx="908">
                  <c:v>23.98</c:v>
                </c:pt>
                <c:pt idx="909">
                  <c:v>23.3</c:v>
                </c:pt>
                <c:pt idx="910">
                  <c:v>22.05</c:v>
                </c:pt>
                <c:pt idx="911">
                  <c:v>22.96</c:v>
                </c:pt>
                <c:pt idx="912">
                  <c:v>23.12</c:v>
                </c:pt>
                <c:pt idx="913">
                  <c:v>23.6</c:v>
                </c:pt>
                <c:pt idx="914">
                  <c:v>23.3</c:v>
                </c:pt>
                <c:pt idx="915">
                  <c:v>22.88</c:v>
                </c:pt>
                <c:pt idx="916">
                  <c:v>22.04</c:v>
                </c:pt>
                <c:pt idx="917">
                  <c:v>22.37</c:v>
                </c:pt>
                <c:pt idx="918">
                  <c:v>22.9</c:v>
                </c:pt>
                <c:pt idx="919">
                  <c:v>22.66</c:v>
                </c:pt>
                <c:pt idx="920">
                  <c:v>22.79</c:v>
                </c:pt>
                <c:pt idx="921">
                  <c:v>23.48</c:v>
                </c:pt>
                <c:pt idx="922">
                  <c:v>23.59</c:v>
                </c:pt>
                <c:pt idx="923">
                  <c:v>23.9</c:v>
                </c:pt>
                <c:pt idx="924">
                  <c:v>24.11</c:v>
                </c:pt>
                <c:pt idx="925">
                  <c:v>24.43</c:v>
                </c:pt>
                <c:pt idx="926">
                  <c:v>23.95</c:v>
                </c:pt>
                <c:pt idx="927">
                  <c:v>23.72</c:v>
                </c:pt>
                <c:pt idx="928">
                  <c:v>24.12</c:v>
                </c:pt>
                <c:pt idx="929">
                  <c:v>23.25</c:v>
                </c:pt>
                <c:pt idx="930">
                  <c:v>23.6</c:v>
                </c:pt>
                <c:pt idx="931">
                  <c:v>21.54</c:v>
                </c:pt>
                <c:pt idx="932">
                  <c:v>21.48</c:v>
                </c:pt>
                <c:pt idx="933">
                  <c:v>21.07</c:v>
                </c:pt>
                <c:pt idx="934">
                  <c:v>21.24</c:v>
                </c:pt>
                <c:pt idx="935">
                  <c:v>20.82</c:v>
                </c:pt>
                <c:pt idx="936">
                  <c:v>21.08</c:v>
                </c:pt>
                <c:pt idx="937">
                  <c:v>20.57</c:v>
                </c:pt>
                <c:pt idx="938">
                  <c:v>20.99</c:v>
                </c:pt>
                <c:pt idx="939">
                  <c:v>20.88</c:v>
                </c:pt>
                <c:pt idx="940">
                  <c:v>21.36</c:v>
                </c:pt>
                <c:pt idx="941">
                  <c:v>21.89</c:v>
                </c:pt>
                <c:pt idx="942">
                  <c:v>21.58</c:v>
                </c:pt>
                <c:pt idx="943">
                  <c:v>21.49</c:v>
                </c:pt>
                <c:pt idx="944">
                  <c:v>21.51</c:v>
                </c:pt>
                <c:pt idx="945">
                  <c:v>20.9</c:v>
                </c:pt>
                <c:pt idx="946">
                  <c:v>21.4</c:v>
                </c:pt>
                <c:pt idx="947">
                  <c:v>21.45</c:v>
                </c:pt>
                <c:pt idx="948">
                  <c:v>21.82</c:v>
                </c:pt>
                <c:pt idx="949">
                  <c:v>21.97</c:v>
                </c:pt>
                <c:pt idx="950">
                  <c:v>22.17</c:v>
                </c:pt>
                <c:pt idx="951">
                  <c:v>22.77</c:v>
                </c:pt>
                <c:pt idx="952">
                  <c:v>22.3</c:v>
                </c:pt>
                <c:pt idx="953">
                  <c:v>22.3</c:v>
                </c:pt>
                <c:pt idx="954">
                  <c:v>21.53</c:v>
                </c:pt>
                <c:pt idx="955">
                  <c:v>21.65</c:v>
                </c:pt>
                <c:pt idx="956">
                  <c:v>21.5</c:v>
                </c:pt>
                <c:pt idx="957">
                  <c:v>21.7</c:v>
                </c:pt>
                <c:pt idx="958">
                  <c:v>21.95</c:v>
                </c:pt>
                <c:pt idx="959">
                  <c:v>22.19</c:v>
                </c:pt>
                <c:pt idx="960">
                  <c:v>22.78</c:v>
                </c:pt>
                <c:pt idx="961">
                  <c:v>23.14</c:v>
                </c:pt>
                <c:pt idx="962">
                  <c:v>24.22</c:v>
                </c:pt>
                <c:pt idx="963">
                  <c:v>23.94</c:v>
                </c:pt>
                <c:pt idx="964">
                  <c:v>24.11</c:v>
                </c:pt>
                <c:pt idx="965">
                  <c:v>24.02</c:v>
                </c:pt>
                <c:pt idx="966">
                  <c:v>24.09</c:v>
                </c:pt>
                <c:pt idx="967">
                  <c:v>24.32</c:v>
                </c:pt>
                <c:pt idx="968">
                  <c:v>24.62</c:v>
                </c:pt>
                <c:pt idx="969">
                  <c:v>24.11</c:v>
                </c:pt>
                <c:pt idx="970">
                  <c:v>24.5</c:v>
                </c:pt>
                <c:pt idx="971">
                  <c:v>24.86</c:v>
                </c:pt>
                <c:pt idx="972">
                  <c:v>25.16</c:v>
                </c:pt>
                <c:pt idx="973">
                  <c:v>25.16</c:v>
                </c:pt>
                <c:pt idx="974">
                  <c:v>25.07</c:v>
                </c:pt>
                <c:pt idx="975">
                  <c:v>25.43</c:v>
                </c:pt>
                <c:pt idx="976">
                  <c:v>25.25</c:v>
                </c:pt>
                <c:pt idx="977">
                  <c:v>25.76</c:v>
                </c:pt>
                <c:pt idx="978">
                  <c:v>26.21</c:v>
                </c:pt>
                <c:pt idx="979">
                  <c:v>26.21</c:v>
                </c:pt>
                <c:pt idx="980">
                  <c:v>27.28</c:v>
                </c:pt>
                <c:pt idx="981">
                  <c:v>27.2</c:v>
                </c:pt>
                <c:pt idx="982">
                  <c:v>27.3</c:v>
                </c:pt>
                <c:pt idx="983">
                  <c:v>26.49</c:v>
                </c:pt>
                <c:pt idx="984">
                  <c:v>26.24</c:v>
                </c:pt>
                <c:pt idx="985">
                  <c:v>26.75</c:v>
                </c:pt>
                <c:pt idx="986">
                  <c:v>26.69</c:v>
                </c:pt>
                <c:pt idx="987">
                  <c:v>26.18</c:v>
                </c:pt>
                <c:pt idx="988">
                  <c:v>26.46</c:v>
                </c:pt>
                <c:pt idx="989">
                  <c:v>25.89</c:v>
                </c:pt>
                <c:pt idx="990">
                  <c:v>26.09</c:v>
                </c:pt>
                <c:pt idx="991">
                  <c:v>26.66</c:v>
                </c:pt>
                <c:pt idx="992">
                  <c:v>27.21</c:v>
                </c:pt>
                <c:pt idx="993">
                  <c:v>27.1</c:v>
                </c:pt>
                <c:pt idx="994">
                  <c:v>27.07</c:v>
                </c:pt>
                <c:pt idx="995">
                  <c:v>26.93</c:v>
                </c:pt>
                <c:pt idx="996">
                  <c:v>26.91</c:v>
                </c:pt>
                <c:pt idx="997">
                  <c:v>27.49</c:v>
                </c:pt>
                <c:pt idx="998">
                  <c:v>27.49</c:v>
                </c:pt>
                <c:pt idx="999">
                  <c:v>27.7</c:v>
                </c:pt>
                <c:pt idx="1000">
                  <c:v>27.63</c:v>
                </c:pt>
                <c:pt idx="1001">
                  <c:v>27.08</c:v>
                </c:pt>
                <c:pt idx="1002">
                  <c:v>27.3</c:v>
                </c:pt>
                <c:pt idx="1003">
                  <c:v>26.7</c:v>
                </c:pt>
                <c:pt idx="1004">
                  <c:v>26.5</c:v>
                </c:pt>
                <c:pt idx="1005">
                  <c:v>26.99</c:v>
                </c:pt>
                <c:pt idx="1006">
                  <c:v>27.04</c:v>
                </c:pt>
                <c:pt idx="1007">
                  <c:v>27.25</c:v>
                </c:pt>
                <c:pt idx="1008">
                  <c:v>26.56</c:v>
                </c:pt>
                <c:pt idx="1009">
                  <c:v>25.82</c:v>
                </c:pt>
                <c:pt idx="1010">
                  <c:v>25.87</c:v>
                </c:pt>
                <c:pt idx="1011">
                  <c:v>26.35</c:v>
                </c:pt>
                <c:pt idx="1012">
                  <c:v>26.28</c:v>
                </c:pt>
                <c:pt idx="1013">
                  <c:v>27.41</c:v>
                </c:pt>
                <c:pt idx="1014">
                  <c:v>28.01</c:v>
                </c:pt>
                <c:pt idx="1015">
                  <c:v>28.43</c:v>
                </c:pt>
                <c:pt idx="1016">
                  <c:v>28.48</c:v>
                </c:pt>
                <c:pt idx="1017">
                  <c:v>28.7</c:v>
                </c:pt>
                <c:pt idx="1018">
                  <c:v>28.29</c:v>
                </c:pt>
                <c:pt idx="1019">
                  <c:v>28.78</c:v>
                </c:pt>
                <c:pt idx="1020">
                  <c:v>28.74</c:v>
                </c:pt>
                <c:pt idx="1021">
                  <c:v>28.56</c:v>
                </c:pt>
                <c:pt idx="1022">
                  <c:v>28.59</c:v>
                </c:pt>
                <c:pt idx="1023">
                  <c:v>29.2</c:v>
                </c:pt>
                <c:pt idx="1024">
                  <c:v>27.7</c:v>
                </c:pt>
                <c:pt idx="1025">
                  <c:v>26.18</c:v>
                </c:pt>
                <c:pt idx="1026">
                  <c:v>25.42</c:v>
                </c:pt>
                <c:pt idx="1027">
                  <c:v>26.16</c:v>
                </c:pt>
                <c:pt idx="1028">
                  <c:v>25.74</c:v>
                </c:pt>
                <c:pt idx="1029">
                  <c:v>26.15</c:v>
                </c:pt>
                <c:pt idx="1030">
                  <c:v>26.74</c:v>
                </c:pt>
                <c:pt idx="1031">
                  <c:v>26.85</c:v>
                </c:pt>
                <c:pt idx="1032">
                  <c:v>27.66</c:v>
                </c:pt>
                <c:pt idx="1033">
                  <c:v>27.96</c:v>
                </c:pt>
                <c:pt idx="1034">
                  <c:v>27.8</c:v>
                </c:pt>
                <c:pt idx="1035">
                  <c:v>28.73</c:v>
                </c:pt>
                <c:pt idx="1036">
                  <c:v>28.52</c:v>
                </c:pt>
                <c:pt idx="1037">
                  <c:v>28.36</c:v>
                </c:pt>
                <c:pt idx="1038">
                  <c:v>29.41</c:v>
                </c:pt>
                <c:pt idx="1039">
                  <c:v>29.3</c:v>
                </c:pt>
                <c:pt idx="1040">
                  <c:v>28.91</c:v>
                </c:pt>
                <c:pt idx="1041">
                  <c:v>28.4</c:v>
                </c:pt>
                <c:pt idx="1042">
                  <c:v>28.32</c:v>
                </c:pt>
                <c:pt idx="1043">
                  <c:v>28.5</c:v>
                </c:pt>
                <c:pt idx="1044">
                  <c:v>28.85</c:v>
                </c:pt>
                <c:pt idx="1045">
                  <c:v>29.12</c:v>
                </c:pt>
                <c:pt idx="1046">
                  <c:v>28.91</c:v>
                </c:pt>
                <c:pt idx="1047">
                  <c:v>29.46</c:v>
                </c:pt>
                <c:pt idx="1048">
                  <c:v>29.53</c:v>
                </c:pt>
                <c:pt idx="1049">
                  <c:v>29.59</c:v>
                </c:pt>
                <c:pt idx="1050">
                  <c:v>29.78</c:v>
                </c:pt>
                <c:pt idx="1051">
                  <c:v>30</c:v>
                </c:pt>
                <c:pt idx="1052">
                  <c:v>29.7</c:v>
                </c:pt>
                <c:pt idx="1053">
                  <c:v>30.36</c:v>
                </c:pt>
                <c:pt idx="1054">
                  <c:v>30.16</c:v>
                </c:pt>
                <c:pt idx="1055">
                  <c:v>30.19</c:v>
                </c:pt>
                <c:pt idx="1056">
                  <c:v>30.33</c:v>
                </c:pt>
                <c:pt idx="1057">
                  <c:v>30.19</c:v>
                </c:pt>
                <c:pt idx="1058">
                  <c:v>29.8</c:v>
                </c:pt>
                <c:pt idx="1059">
                  <c:v>30.04</c:v>
                </c:pt>
                <c:pt idx="1060">
                  <c:v>30.38</c:v>
                </c:pt>
                <c:pt idx="1061">
                  <c:v>28.92</c:v>
                </c:pt>
                <c:pt idx="1062">
                  <c:v>29</c:v>
                </c:pt>
                <c:pt idx="1063">
                  <c:v>28.92</c:v>
                </c:pt>
                <c:pt idx="1064">
                  <c:v>28.95</c:v>
                </c:pt>
                <c:pt idx="1065">
                  <c:v>29.08</c:v>
                </c:pt>
                <c:pt idx="1066">
                  <c:v>29.16</c:v>
                </c:pt>
                <c:pt idx="1067">
                  <c:v>29.74</c:v>
                </c:pt>
                <c:pt idx="1068">
                  <c:v>29.79</c:v>
                </c:pt>
                <c:pt idx="1069">
                  <c:v>30.06</c:v>
                </c:pt>
                <c:pt idx="1070">
                  <c:v>29.73</c:v>
                </c:pt>
                <c:pt idx="1071">
                  <c:v>29.45</c:v>
                </c:pt>
                <c:pt idx="1072">
                  <c:v>29.27</c:v>
                </c:pt>
                <c:pt idx="1073">
                  <c:v>29.26</c:v>
                </c:pt>
                <c:pt idx="1074">
                  <c:v>29.9</c:v>
                </c:pt>
                <c:pt idx="1075">
                  <c:v>29.57</c:v>
                </c:pt>
                <c:pt idx="1076">
                  <c:v>29</c:v>
                </c:pt>
                <c:pt idx="1077">
                  <c:v>29.31</c:v>
                </c:pt>
                <c:pt idx="1078">
                  <c:v>28.99</c:v>
                </c:pt>
                <c:pt idx="1079">
                  <c:v>29.03</c:v>
                </c:pt>
                <c:pt idx="1080">
                  <c:v>26.78</c:v>
                </c:pt>
                <c:pt idx="1081">
                  <c:v>28.13</c:v>
                </c:pt>
                <c:pt idx="1082">
                  <c:v>27.94</c:v>
                </c:pt>
                <c:pt idx="1083">
                  <c:v>28.1</c:v>
                </c:pt>
                <c:pt idx="1084">
                  <c:v>28.37</c:v>
                </c:pt>
                <c:pt idx="1085">
                  <c:v>28.3</c:v>
                </c:pt>
                <c:pt idx="1086">
                  <c:v>28.32</c:v>
                </c:pt>
                <c:pt idx="1087">
                  <c:v>27.8</c:v>
                </c:pt>
                <c:pt idx="1088">
                  <c:v>28.68</c:v>
                </c:pt>
                <c:pt idx="1089">
                  <c:v>28.85</c:v>
                </c:pt>
                <c:pt idx="1090">
                  <c:v>28.19</c:v>
                </c:pt>
                <c:pt idx="1091">
                  <c:v>28.3</c:v>
                </c:pt>
                <c:pt idx="1092">
                  <c:v>28.46</c:v>
                </c:pt>
                <c:pt idx="1093">
                  <c:v>28.43</c:v>
                </c:pt>
                <c:pt idx="1094">
                  <c:v>28.59</c:v>
                </c:pt>
                <c:pt idx="1095">
                  <c:v>28.47</c:v>
                </c:pt>
                <c:pt idx="1096">
                  <c:v>28.85</c:v>
                </c:pt>
                <c:pt idx="1097">
                  <c:v>28.73</c:v>
                </c:pt>
                <c:pt idx="1098">
                  <c:v>29.33</c:v>
                </c:pt>
                <c:pt idx="1099">
                  <c:v>29.44</c:v>
                </c:pt>
                <c:pt idx="1100">
                  <c:v>29.94</c:v>
                </c:pt>
                <c:pt idx="1101">
                  <c:v>30</c:v>
                </c:pt>
                <c:pt idx="1102">
                  <c:v>30.1</c:v>
                </c:pt>
                <c:pt idx="1103">
                  <c:v>30.29</c:v>
                </c:pt>
                <c:pt idx="1104">
                  <c:v>30.62</c:v>
                </c:pt>
                <c:pt idx="1105">
                  <c:v>30.44</c:v>
                </c:pt>
                <c:pt idx="1106">
                  <c:v>30.62</c:v>
                </c:pt>
                <c:pt idx="1107">
                  <c:v>30.82</c:v>
                </c:pt>
                <c:pt idx="1108">
                  <c:v>31.36</c:v>
                </c:pt>
                <c:pt idx="1109">
                  <c:v>31.36</c:v>
                </c:pt>
                <c:pt idx="1110">
                  <c:v>30.96</c:v>
                </c:pt>
                <c:pt idx="1111">
                  <c:v>30.64</c:v>
                </c:pt>
                <c:pt idx="1112">
                  <c:v>30.28</c:v>
                </c:pt>
                <c:pt idx="1113">
                  <c:v>29.7</c:v>
                </c:pt>
                <c:pt idx="1114">
                  <c:v>29.81</c:v>
                </c:pt>
                <c:pt idx="1115">
                  <c:v>29.05</c:v>
                </c:pt>
                <c:pt idx="1116">
                  <c:v>29.21</c:v>
                </c:pt>
                <c:pt idx="1117">
                  <c:v>30.46</c:v>
                </c:pt>
                <c:pt idx="1118">
                  <c:v>30.51</c:v>
                </c:pt>
                <c:pt idx="1119">
                  <c:v>31.02</c:v>
                </c:pt>
                <c:pt idx="1120">
                  <c:v>31.4</c:v>
                </c:pt>
                <c:pt idx="1121">
                  <c:v>29.45</c:v>
                </c:pt>
                <c:pt idx="1122">
                  <c:v>30.45</c:v>
                </c:pt>
                <c:pt idx="1123">
                  <c:v>31.7</c:v>
                </c:pt>
                <c:pt idx="1124">
                  <c:v>32.130000000000003</c:v>
                </c:pt>
                <c:pt idx="1125">
                  <c:v>32.549999999999997</c:v>
                </c:pt>
                <c:pt idx="1126">
                  <c:v>32.57</c:v>
                </c:pt>
                <c:pt idx="1127">
                  <c:v>32.19</c:v>
                </c:pt>
                <c:pt idx="1128">
                  <c:v>31.7</c:v>
                </c:pt>
                <c:pt idx="1129">
                  <c:v>31.59</c:v>
                </c:pt>
                <c:pt idx="1130">
                  <c:v>31.37</c:v>
                </c:pt>
                <c:pt idx="1131">
                  <c:v>31.89</c:v>
                </c:pt>
                <c:pt idx="1132">
                  <c:v>31.76</c:v>
                </c:pt>
                <c:pt idx="1133">
                  <c:v>32.270000000000003</c:v>
                </c:pt>
                <c:pt idx="1134">
                  <c:v>31.96</c:v>
                </c:pt>
                <c:pt idx="1135">
                  <c:v>31.55</c:v>
                </c:pt>
                <c:pt idx="1136">
                  <c:v>31.13</c:v>
                </c:pt>
                <c:pt idx="1137">
                  <c:v>31.59</c:v>
                </c:pt>
                <c:pt idx="1138">
                  <c:v>31.74</c:v>
                </c:pt>
                <c:pt idx="1139">
                  <c:v>30.91</c:v>
                </c:pt>
                <c:pt idx="1140">
                  <c:v>31.09</c:v>
                </c:pt>
                <c:pt idx="1141">
                  <c:v>30.75</c:v>
                </c:pt>
                <c:pt idx="1142">
                  <c:v>30.73</c:v>
                </c:pt>
                <c:pt idx="1143">
                  <c:v>30.64</c:v>
                </c:pt>
                <c:pt idx="1144">
                  <c:v>33.67</c:v>
                </c:pt>
                <c:pt idx="1145">
                  <c:v>33.869999999999997</c:v>
                </c:pt>
                <c:pt idx="1146">
                  <c:v>34.58</c:v>
                </c:pt>
                <c:pt idx="1147">
                  <c:v>34.15</c:v>
                </c:pt>
                <c:pt idx="1148">
                  <c:v>34.730000000000011</c:v>
                </c:pt>
                <c:pt idx="1149">
                  <c:v>35.29</c:v>
                </c:pt>
                <c:pt idx="1150">
                  <c:v>36.06</c:v>
                </c:pt>
                <c:pt idx="1151">
                  <c:v>36.97</c:v>
                </c:pt>
                <c:pt idx="1152">
                  <c:v>37.31</c:v>
                </c:pt>
                <c:pt idx="1153">
                  <c:v>37.93</c:v>
                </c:pt>
                <c:pt idx="1154">
                  <c:v>38.19</c:v>
                </c:pt>
                <c:pt idx="1155">
                  <c:v>38.479999999999997</c:v>
                </c:pt>
                <c:pt idx="1156">
                  <c:v>38.42</c:v>
                </c:pt>
                <c:pt idx="1157">
                  <c:v>38.44</c:v>
                </c:pt>
                <c:pt idx="1158">
                  <c:v>38.28</c:v>
                </c:pt>
                <c:pt idx="1159">
                  <c:v>38.590000000000003</c:v>
                </c:pt>
                <c:pt idx="1160">
                  <c:v>38.35</c:v>
                </c:pt>
                <c:pt idx="1161">
                  <c:v>38.56</c:v>
                </c:pt>
                <c:pt idx="1162">
                  <c:v>38.520000000000003</c:v>
                </c:pt>
                <c:pt idx="1163">
                  <c:v>38.49</c:v>
                </c:pt>
                <c:pt idx="1164">
                  <c:v>38.17</c:v>
                </c:pt>
                <c:pt idx="1165">
                  <c:v>38.53</c:v>
                </c:pt>
                <c:pt idx="1166">
                  <c:v>38.369999999999997</c:v>
                </c:pt>
                <c:pt idx="1167">
                  <c:v>38.24</c:v>
                </c:pt>
                <c:pt idx="1168">
                  <c:v>37.340000000000003</c:v>
                </c:pt>
                <c:pt idx="1169">
                  <c:v>37.24</c:v>
                </c:pt>
                <c:pt idx="1170">
                  <c:v>37.75</c:v>
                </c:pt>
                <c:pt idx="1171">
                  <c:v>37.880000000000003</c:v>
                </c:pt>
                <c:pt idx="1172">
                  <c:v>37.46</c:v>
                </c:pt>
                <c:pt idx="1173">
                  <c:v>37.19</c:v>
                </c:pt>
                <c:pt idx="1174">
                  <c:v>37.1</c:v>
                </c:pt>
                <c:pt idx="1175">
                  <c:v>36.81</c:v>
                </c:pt>
                <c:pt idx="1176">
                  <c:v>36.96</c:v>
                </c:pt>
                <c:pt idx="1177">
                  <c:v>36.51</c:v>
                </c:pt>
                <c:pt idx="1178">
                  <c:v>36.36</c:v>
                </c:pt>
                <c:pt idx="1179">
                  <c:v>36.49</c:v>
                </c:pt>
                <c:pt idx="1180">
                  <c:v>36.28</c:v>
                </c:pt>
                <c:pt idx="1181">
                  <c:v>36.72</c:v>
                </c:pt>
                <c:pt idx="1182">
                  <c:v>37.03</c:v>
                </c:pt>
                <c:pt idx="1183">
                  <c:v>36.97</c:v>
                </c:pt>
                <c:pt idx="1184">
                  <c:v>37.35</c:v>
                </c:pt>
                <c:pt idx="1185">
                  <c:v>37.380000000000003</c:v>
                </c:pt>
                <c:pt idx="1186">
                  <c:v>37.340000000000003</c:v>
                </c:pt>
                <c:pt idx="1187">
                  <c:v>37.61</c:v>
                </c:pt>
                <c:pt idx="1188">
                  <c:v>37.979999999999997</c:v>
                </c:pt>
                <c:pt idx="1189">
                  <c:v>38</c:v>
                </c:pt>
                <c:pt idx="1190">
                  <c:v>37.94</c:v>
                </c:pt>
                <c:pt idx="1191">
                  <c:v>38.14</c:v>
                </c:pt>
                <c:pt idx="1192">
                  <c:v>38.450000000000003</c:v>
                </c:pt>
                <c:pt idx="1193">
                  <c:v>39.51</c:v>
                </c:pt>
                <c:pt idx="1194">
                  <c:v>39.230000000000011</c:v>
                </c:pt>
                <c:pt idx="1195">
                  <c:v>38.65</c:v>
                </c:pt>
                <c:pt idx="1196">
                  <c:v>39.380000000000003</c:v>
                </c:pt>
                <c:pt idx="1197">
                  <c:v>39.46</c:v>
                </c:pt>
                <c:pt idx="1198">
                  <c:v>39.18</c:v>
                </c:pt>
                <c:pt idx="1199">
                  <c:v>38.799999999999997</c:v>
                </c:pt>
                <c:pt idx="1200">
                  <c:v>39.33</c:v>
                </c:pt>
                <c:pt idx="1201">
                  <c:v>39.08</c:v>
                </c:pt>
                <c:pt idx="1202">
                  <c:v>39.72</c:v>
                </c:pt>
                <c:pt idx="1203">
                  <c:v>39.93</c:v>
                </c:pt>
                <c:pt idx="1204">
                  <c:v>40.14</c:v>
                </c:pt>
                <c:pt idx="1205">
                  <c:v>40.14</c:v>
                </c:pt>
                <c:pt idx="1206">
                  <c:v>40.78</c:v>
                </c:pt>
                <c:pt idx="1207">
                  <c:v>38.5</c:v>
                </c:pt>
                <c:pt idx="1208">
                  <c:v>38.76</c:v>
                </c:pt>
                <c:pt idx="1209">
                  <c:v>39.090000000000003</c:v>
                </c:pt>
                <c:pt idx="1210">
                  <c:v>39.230000000000011</c:v>
                </c:pt>
                <c:pt idx="1211">
                  <c:v>39.33</c:v>
                </c:pt>
                <c:pt idx="1212">
                  <c:v>39.69</c:v>
                </c:pt>
                <c:pt idx="1213">
                  <c:v>38.770000000000003</c:v>
                </c:pt>
                <c:pt idx="1214">
                  <c:v>38.33</c:v>
                </c:pt>
                <c:pt idx="1215">
                  <c:v>37.700000000000003</c:v>
                </c:pt>
                <c:pt idx="1216">
                  <c:v>38.020000000000003</c:v>
                </c:pt>
                <c:pt idx="1217">
                  <c:v>39.03</c:v>
                </c:pt>
                <c:pt idx="1218">
                  <c:v>36.28</c:v>
                </c:pt>
                <c:pt idx="1219">
                  <c:v>36.450000000000003</c:v>
                </c:pt>
                <c:pt idx="1220">
                  <c:v>36.4</c:v>
                </c:pt>
                <c:pt idx="1221">
                  <c:v>35.21</c:v>
                </c:pt>
                <c:pt idx="1222">
                  <c:v>36.58</c:v>
                </c:pt>
                <c:pt idx="1223">
                  <c:v>36.450000000000003</c:v>
                </c:pt>
                <c:pt idx="1224">
                  <c:v>36.590000000000003</c:v>
                </c:pt>
                <c:pt idx="1225">
                  <c:v>36.74</c:v>
                </c:pt>
                <c:pt idx="1226">
                  <c:v>37.159999999999997</c:v>
                </c:pt>
                <c:pt idx="1227">
                  <c:v>37.49</c:v>
                </c:pt>
                <c:pt idx="1228">
                  <c:v>38.020000000000003</c:v>
                </c:pt>
                <c:pt idx="1229">
                  <c:v>38.450000000000003</c:v>
                </c:pt>
                <c:pt idx="1230">
                  <c:v>38.35</c:v>
                </c:pt>
                <c:pt idx="1231">
                  <c:v>38.47</c:v>
                </c:pt>
                <c:pt idx="1232">
                  <c:v>38.14</c:v>
                </c:pt>
                <c:pt idx="1233">
                  <c:v>38.75</c:v>
                </c:pt>
                <c:pt idx="1234">
                  <c:v>38.369999999999997</c:v>
                </c:pt>
                <c:pt idx="1235">
                  <c:v>38.14</c:v>
                </c:pt>
                <c:pt idx="1236">
                  <c:v>38.369999999999997</c:v>
                </c:pt>
                <c:pt idx="1237">
                  <c:v>38.479999999999997</c:v>
                </c:pt>
                <c:pt idx="1238">
                  <c:v>37.659999999999997</c:v>
                </c:pt>
                <c:pt idx="1239">
                  <c:v>36.99</c:v>
                </c:pt>
                <c:pt idx="1240">
                  <c:v>36.49</c:v>
                </c:pt>
                <c:pt idx="1241">
                  <c:v>36.799999999999997</c:v>
                </c:pt>
                <c:pt idx="1242">
                  <c:v>35.61</c:v>
                </c:pt>
                <c:pt idx="1243">
                  <c:v>35.840000000000003</c:v>
                </c:pt>
                <c:pt idx="1244">
                  <c:v>35.840000000000003</c:v>
                </c:pt>
                <c:pt idx="1245">
                  <c:v>36.21</c:v>
                </c:pt>
                <c:pt idx="1246">
                  <c:v>36.67</c:v>
                </c:pt>
                <c:pt idx="1247">
                  <c:v>36.61</c:v>
                </c:pt>
                <c:pt idx="1248">
                  <c:v>36.520000000000003</c:v>
                </c:pt>
                <c:pt idx="1249">
                  <c:v>36.78</c:v>
                </c:pt>
                <c:pt idx="1250">
                  <c:v>36.630000000000003</c:v>
                </c:pt>
                <c:pt idx="1251">
                  <c:v>36.630000000000003</c:v>
                </c:pt>
                <c:pt idx="1252">
                  <c:v>36.65</c:v>
                </c:pt>
                <c:pt idx="1253">
                  <c:v>36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75-435E-AE78-0BD07E53AA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2079808"/>
        <c:axId val="392080200"/>
      </c:lineChart>
      <c:dateAx>
        <c:axId val="392079808"/>
        <c:scaling>
          <c:orientation val="minMax"/>
          <c:min val="41273"/>
        </c:scaling>
        <c:delete val="0"/>
        <c:axPos val="b"/>
        <c:numFmt formatCode="yy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92080200"/>
        <c:crosses val="autoZero"/>
        <c:auto val="0"/>
        <c:lblOffset val="100"/>
        <c:baseTimeUnit val="days"/>
        <c:majorUnit val="1"/>
        <c:majorTimeUnit val="years"/>
        <c:minorUnit val="1"/>
        <c:minorTimeUnit val="years"/>
      </c:dateAx>
      <c:valAx>
        <c:axId val="392080200"/>
        <c:scaling>
          <c:orientation val="minMax"/>
          <c:max val="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92079808"/>
        <c:crossesAt val="40910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i-FI" sz="1400" b="1" i="0" baseline="0" dirty="0" smtClean="0">
                <a:solidFill>
                  <a:schemeClr val="accent2"/>
                </a:solidFill>
                <a:effectLst/>
              </a:rPr>
              <a:t>Liiketoiminta-alueiden vertailukelpoinen liikevoitto, MEUR</a:t>
            </a:r>
            <a:endParaRPr lang="fi-FI" sz="1400" b="1" dirty="0">
              <a:solidFill>
                <a:schemeClr val="accent2"/>
              </a:solidFill>
              <a:effectLst/>
            </a:endParaRPr>
          </a:p>
        </c:rich>
      </c:tx>
      <c:layout>
        <c:manualLayout>
          <c:xMode val="edge"/>
          <c:yMode val="edge"/>
          <c:x val="5.4911388288853197E-2"/>
          <c:y val="5.42283140118276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>
        <c:manualLayout>
          <c:layoutTarget val="inner"/>
          <c:xMode val="edge"/>
          <c:yMode val="edge"/>
          <c:x val="0.26295857880525902"/>
          <c:y val="0.24396735908003001"/>
          <c:w val="0.66164808139922704"/>
          <c:h val="0.539459292392992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arketing &amp; Services</c:v>
                </c:pt>
                <c:pt idx="1">
                  <c:v>Uusiutuvat tuotteet</c:v>
                </c:pt>
                <c:pt idx="2">
                  <c:v>Öljytuotteet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90</c:v>
                </c:pt>
                <c:pt idx="1">
                  <c:v>469</c:v>
                </c:pt>
                <c:pt idx="2">
                  <c:v>4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AD-4773-9ABD-6DAEB968538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arketing &amp; Services</c:v>
                </c:pt>
                <c:pt idx="1">
                  <c:v>Uusiutuvat tuotteet</c:v>
                </c:pt>
                <c:pt idx="2">
                  <c:v>Öljytuotteet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58</c:v>
                </c:pt>
                <c:pt idx="1">
                  <c:v>-56</c:v>
                </c:pt>
                <c:pt idx="2">
                  <c:v>3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0AD-4773-9ABD-6DAEB96853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92080984"/>
        <c:axId val="392081376"/>
      </c:barChart>
      <c:catAx>
        <c:axId val="3920809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low"/>
        <c:crossAx val="392081376"/>
        <c:crosses val="autoZero"/>
        <c:auto val="1"/>
        <c:lblAlgn val="ctr"/>
        <c:lblOffset val="100"/>
        <c:noMultiLvlLbl val="0"/>
      </c:catAx>
      <c:valAx>
        <c:axId val="392081376"/>
        <c:scaling>
          <c:orientation val="minMax"/>
          <c:min val="-1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9208098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59785279909199E-2"/>
          <c:y val="0.15346805313458001"/>
          <c:w val="0.45076225793160302"/>
          <c:h val="0.815201192250375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enewable feedstock mix in 2014</c:v>
                </c:pt>
              </c:strCache>
            </c:strRef>
          </c:tx>
          <c:spPr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67D1-432F-881B-C24F49566A6C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67D1-432F-881B-C24F49566A6C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67D1-432F-881B-C24F49566A6C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67D1-432F-881B-C24F49566A6C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67D1-432F-881B-C24F49566A6C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5-67D1-432F-881B-C24F49566A6C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6-67D1-432F-881B-C24F49566A6C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7-67D1-432F-881B-C24F49566A6C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8-67D1-432F-881B-C24F49566A6C}"/>
              </c:ext>
            </c:extLst>
          </c:dPt>
          <c:cat>
            <c:strRef>
              <c:f>Sheet1!$A$2:$A$3</c:f>
              <c:strCache>
                <c:ptCount val="2"/>
                <c:pt idx="0">
                  <c:v>  Waste and residues
  (e.g. waste animal fat, waste fish fat, fatty acid distillates, technical corn oil)</c:v>
                </c:pt>
                <c:pt idx="1">
                  <c:v>  Diesel fuels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8</c:v>
                </c:pt>
                <c:pt idx="1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7D1-432F-881B-C24F49566A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 w="25396">
          <a:noFill/>
        </a:ln>
      </c:spPr>
    </c:plotArea>
    <c:plotVisOnly val="1"/>
    <c:dispBlanksAs val="zero"/>
    <c:showDLblsOverMax val="0"/>
  </c:chart>
  <c:txPr>
    <a:bodyPr/>
    <a:lstStyle/>
    <a:p>
      <a:pPr>
        <a:defRPr sz="1800"/>
      </a:pPr>
      <a:endParaRPr lang="fi-FI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96F41F-5182-FC41-AA00-41F86603194E}" type="datetimeFigureOut">
              <a:t>4.2.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4F6C5B-24EF-B946-B956-0E75DD4388EA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2908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3D26CF-A37A-457D-8689-C4B309675D4A}" type="datetimeFigureOut">
              <a:rPr lang="fi-FI" smtClean="0"/>
              <a:t>4.2.2019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8997DF-4F0E-43DE-90D6-7EA9656C782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867364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sionamm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uod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stuullisi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ihtoehtoj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k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äiv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äi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imm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istell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lmastonmuuto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sta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mall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svatta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iakkaittemm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iketoiminta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uomall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ill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hdollisuuksi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hd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stuullisi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lintoj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ee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nestys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ustuu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ykyy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uod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stuullisi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ihtoehdoi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vo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iakkaill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skus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äm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astava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t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yrimm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kemää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linnoi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i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lppoj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i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hdolli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8997DF-4F0E-43DE-90D6-7EA9656C7829}" type="slidenum">
              <a:rPr lang="fi-FI" smtClean="0"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870458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&amp;K:ll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lut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rkittävä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oli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e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iketoiminna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utokse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nistumisess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lokse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kemisess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ähä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uluu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nistunei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mppanuuksi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tkimuslaitost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rityst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nssa</a:t>
            </a:r>
            <a:endParaRPr lang="en-US" sz="1200" b="0" i="0" u="none" strike="noStrike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fi-FI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simme uusiutuvia ratkaisuja liikennepolttoaineiden ulkopuolelta, esim. kemianteollisuuden tarpeisiin (uusiutuvat liuottimet</a:t>
            </a:r>
            <a:r>
              <a:rPr lang="fi-FI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muovit)</a:t>
            </a:r>
            <a:endParaRPr lang="fi-FI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fi-FI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äytämme</a:t>
            </a:r>
            <a:r>
              <a:rPr lang="fi-FI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i-FI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ikkolaatuisempia raaka-aineita korkealaatuisten tuotteiden valmistukseen.</a:t>
            </a:r>
            <a:r>
              <a:rPr lang="fi-FI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tsimme jatkuvasti uusia raaka-aineita erityisesti heikompilaatuisista lähteistä.</a:t>
            </a:r>
            <a:endParaRPr lang="fi-FI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fi-FI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vissä</a:t>
            </a:r>
            <a:r>
              <a:rPr lang="fi-FI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i-FI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</a:t>
            </a:r>
            <a:r>
              <a:rPr lang="fi-FI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</a:t>
            </a:r>
            <a:r>
              <a:rPr lang="fi-FI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sätalouden sekä</a:t>
            </a:r>
            <a:r>
              <a:rPr lang="fi-FI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i-FI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atalouden biomassassa tunnistettu</a:t>
            </a:r>
            <a:r>
              <a:rPr lang="fi-FI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otentiaalia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8997DF-4F0E-43DE-90D6-7EA9656C7829}" type="slidenum">
              <a:rPr lang="fi-FI" smtClean="0"/>
              <a:t>17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400668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5222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AE7DCDB4-E683-476A-82EB-BDA8087A8165}" type="slidenum">
              <a:rPr lang="en-US" smtClean="0">
                <a:latin typeface="Calibri" pitchFamily="34" charset="0"/>
                <a:ea typeface="ＭＳ Ｐゴシック"/>
                <a:cs typeface="Arial" charset="0"/>
              </a:rPr>
              <a:pPr/>
              <a:t>18</a:t>
            </a:fld>
            <a:endParaRPr lang="en-US" smtClean="0">
              <a:latin typeface="Calibri" pitchFamily="34" charset="0"/>
              <a:ea typeface="ＭＳ Ｐゴシック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48033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deo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ssiilisesta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e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Y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asta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elist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]</a:t>
            </a:r>
          </a:p>
          <a:p>
            <a:pPr lvl="0"/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Y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esel</a:t>
            </a:r>
            <a:endParaRPr lang="fi-FI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00 %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äytettäviss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oraan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00 %: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ll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 on ns. drop-in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ot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p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90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%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ähemmän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svihuonekaasupäästöj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ko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linkaaren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kan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rkealaatuisempaa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in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kään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u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esel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lostetaan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lkein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stä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ain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asta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öljy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tai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svapohjaisesta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ätteestä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8997DF-4F0E-43DE-90D6-7EA9656C7829}" type="slidenum">
              <a:rPr lang="fi-FI" smtClean="0"/>
              <a:t>20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243219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9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3298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  <p:sp>
        <p:nvSpPr>
          <p:cNvPr id="183299" name="Slide Number Placeholder 3"/>
          <p:cNvSpPr txBox="1">
            <a:spLocks noGrp="1"/>
          </p:cNvSpPr>
          <p:nvPr/>
        </p:nvSpPr>
        <p:spPr bwMode="auto">
          <a:xfrm>
            <a:off x="3816641" y="9370388"/>
            <a:ext cx="2917661" cy="494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190" tIns="46095" rIns="92190" bIns="46095" anchor="b"/>
          <a:lstStyle/>
          <a:p>
            <a:pPr algn="r" defTabSz="922338"/>
            <a:fld id="{9B99807D-55DD-4702-8ACF-2BE07D644DA2}" type="slidenum">
              <a:rPr lang="en-US" sz="1200">
                <a:solidFill>
                  <a:prstClr val="black"/>
                </a:solidFill>
                <a:cs typeface="Arial" charset="0"/>
              </a:rPr>
              <a:pPr algn="r" defTabSz="922338"/>
              <a:t>21</a:t>
            </a:fld>
            <a:endParaRPr lang="en-US" sz="120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1756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8997DF-4F0E-43DE-90D6-7EA9656C7829}" type="slidenum">
              <a:rPr lang="fi-FI" smtClean="0"/>
              <a:t>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020439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793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Char char="•"/>
            </a:pPr>
            <a:r>
              <a:rPr lang="en-GB" dirty="0" err="1" smtClean="0">
                <a:ea typeface="ＭＳ Ｐゴシック" charset="0"/>
                <a:cs typeface="ＭＳ Ｐゴシック" charset="0"/>
              </a:rPr>
              <a:t>Nestee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tutkimus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-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ja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kehitystyö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on jo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vuosikymmenie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aja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keskittynyt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ympäristöä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vähemmä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kuormittavie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tuotteide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ja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teknologioide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kehittämisee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.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Tänää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tutkimustyö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painopiste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on NEXBTL-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teknologia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hyväksyttävyyde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tukemisessa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ja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se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jatkokehityksessä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muu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muassa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raaka-ainejoustavuude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osalta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. </a:t>
            </a:r>
          </a:p>
          <a:p>
            <a:pPr>
              <a:buFontTx/>
              <a:buChar char="•"/>
            </a:pPr>
            <a:r>
              <a:rPr lang="en-US" dirty="0" err="1" smtClean="0">
                <a:ea typeface="ＭＳ Ｐゴシック" charset="0"/>
                <a:cs typeface="ＭＳ Ｐゴシック" charset="0"/>
              </a:rPr>
              <a:t>Nesteen</a:t>
            </a:r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US" dirty="0" err="1" smtClean="0">
                <a:ea typeface="ＭＳ Ｐゴシック" charset="0"/>
                <a:cs typeface="ＭＳ Ｐゴシック" charset="0"/>
              </a:rPr>
              <a:t>raaka-ainetutkimus</a:t>
            </a:r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US" dirty="0" err="1" smtClean="0">
                <a:ea typeface="ＭＳ Ｐゴシック" charset="0"/>
                <a:cs typeface="ＭＳ Ｐゴシック" charset="0"/>
              </a:rPr>
              <a:t>keskittyy</a:t>
            </a:r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US" dirty="0" err="1" smtClean="0">
                <a:ea typeface="ＭＳ Ｐゴシック" charset="0"/>
                <a:cs typeface="ＭＳ Ｐゴシック" charset="0"/>
              </a:rPr>
              <a:t>puun</a:t>
            </a:r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US" dirty="0" err="1" smtClean="0">
                <a:ea typeface="ＭＳ Ｐゴシック" charset="0"/>
                <a:cs typeface="ＭＳ Ｐゴシック" charset="0"/>
              </a:rPr>
              <a:t>biomassasta</a:t>
            </a:r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US" dirty="0" err="1" smtClean="0">
                <a:ea typeface="ＭＳ Ｐゴシック" charset="0"/>
                <a:cs typeface="ＭＳ Ｐゴシック" charset="0"/>
              </a:rPr>
              <a:t>tuotetun</a:t>
            </a:r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US" dirty="0" err="1" smtClean="0">
                <a:ea typeface="ＭＳ Ｐゴシック" charset="0"/>
                <a:cs typeface="ＭＳ Ｐゴシック" charset="0"/>
              </a:rPr>
              <a:t>biovahan</a:t>
            </a:r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US" dirty="0" err="1" smtClean="0">
                <a:ea typeface="ＭＳ Ｐゴシック" charset="0"/>
                <a:cs typeface="ＭＳ Ｐゴシック" charset="0"/>
              </a:rPr>
              <a:t>sekä</a:t>
            </a:r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US" dirty="0" err="1" smtClean="0">
                <a:ea typeface="ＭＳ Ｐゴシック" charset="0"/>
                <a:cs typeface="ＭＳ Ｐゴシック" charset="0"/>
              </a:rPr>
              <a:t>levä</a:t>
            </a:r>
            <a:r>
              <a:rPr lang="en-US" dirty="0" smtClean="0">
                <a:ea typeface="ＭＳ Ｐゴシック" charset="0"/>
                <a:cs typeface="ＭＳ Ｐゴシック" charset="0"/>
              </a:rPr>
              <a:t>- ja </a:t>
            </a:r>
            <a:r>
              <a:rPr lang="en-US" dirty="0" err="1" smtClean="0">
                <a:ea typeface="ＭＳ Ｐゴシック" charset="0"/>
                <a:cs typeface="ＭＳ Ｐゴシック" charset="0"/>
              </a:rPr>
              <a:t>mikrobiöljyn</a:t>
            </a:r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US" dirty="0" err="1" smtClean="0">
                <a:ea typeface="ＭＳ Ｐゴシック" charset="0"/>
                <a:cs typeface="ＭＳ Ｐゴシック" charset="0"/>
              </a:rPr>
              <a:t>hyöntyntämiseen</a:t>
            </a:r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US" dirty="0" err="1" smtClean="0">
                <a:ea typeface="ＭＳ Ｐゴシック" charset="0"/>
                <a:cs typeface="ＭＳ Ｐゴシック" charset="0"/>
              </a:rPr>
              <a:t>uusiututuvien</a:t>
            </a:r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US" dirty="0" err="1" smtClean="0">
                <a:ea typeface="ＭＳ Ｐゴシック" charset="0"/>
                <a:cs typeface="ＭＳ Ｐゴシック" charset="0"/>
              </a:rPr>
              <a:t>polttoaineiden</a:t>
            </a:r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US" dirty="0" err="1" smtClean="0">
                <a:ea typeface="ＭＳ Ｐゴシック" charset="0"/>
                <a:cs typeface="ＭＳ Ｐゴシック" charset="0"/>
              </a:rPr>
              <a:t>tuotannossa</a:t>
            </a:r>
            <a:r>
              <a:rPr lang="en-US" dirty="0" smtClean="0">
                <a:ea typeface="ＭＳ Ｐゴシック" charset="0"/>
                <a:cs typeface="ＭＳ Ｐゴシック" charset="0"/>
              </a:rPr>
              <a:t>. </a:t>
            </a:r>
          </a:p>
          <a:p>
            <a:pPr>
              <a:buFontTx/>
              <a:buChar char="•"/>
            </a:pPr>
            <a:r>
              <a:rPr lang="en-GB" dirty="0" err="1" smtClean="0">
                <a:ea typeface="ＭＳ Ｐゴシック" charset="0"/>
                <a:cs typeface="ＭＳ Ｐゴシック" charset="0"/>
              </a:rPr>
              <a:t>Nestee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yhteistyöverkostoo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kuuluu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yhteensä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noin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25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yliopistoa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ja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tutkimusyhteisöä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Suomesta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sekä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muualta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maailmasta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.</a:t>
            </a:r>
          </a:p>
          <a:p>
            <a:pPr>
              <a:buFontTx/>
              <a:buChar char="•"/>
            </a:pPr>
            <a:r>
              <a:rPr lang="en-GB" dirty="0" err="1" smtClean="0">
                <a:ea typeface="ＭＳ Ｐゴシック" charset="0"/>
                <a:cs typeface="ＭＳ Ｐゴシック" charset="0"/>
              </a:rPr>
              <a:t>Nesteen</a:t>
            </a:r>
            <a:r>
              <a:rPr lang="en-GB" baseline="0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omistama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teknologia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-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ja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suunnitteluyhtiö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</a:t>
            </a:r>
            <a:r>
              <a:rPr lang="en-GB" dirty="0" err="1" smtClean="0">
                <a:ea typeface="ＭＳ Ｐゴシック" charset="0"/>
                <a:cs typeface="ＭＳ Ｐゴシック" charset="0"/>
              </a:rPr>
              <a:t>Neste</a:t>
            </a:r>
            <a:r>
              <a:rPr lang="en-GB" dirty="0" smtClean="0">
                <a:ea typeface="ＭＳ Ｐゴシック" charset="0"/>
                <a:cs typeface="ＭＳ Ｐゴシック" charset="0"/>
              </a:rPr>
              <a:t> Engineering Solutions</a:t>
            </a:r>
          </a:p>
        </p:txBody>
      </p:sp>
    </p:spTree>
    <p:extLst>
      <p:ext uri="{BB962C8B-B14F-4D97-AF65-F5344CB8AC3E}">
        <p14:creationId xmlns:p14="http://schemas.microsoft.com/office/powerpoint/2010/main" val="21246279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6B19FA-D26A-4C50-B680-60F3EE29258A}" type="slidenum">
              <a:rPr lang="fi-FI" smtClean="0">
                <a:solidFill>
                  <a:prstClr val="black"/>
                </a:solidFill>
              </a:rPr>
              <a:pPr/>
              <a:t>38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869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kaine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ritys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rvitse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emass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olle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rkoituks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eellä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hv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ikki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t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äss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ityksess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itetää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voutuu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hte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hmiskunn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ämä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tk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urimpa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asteese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lmastonmuutokse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ikk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lmastonmuutos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lobaalisti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leisesti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edoss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ikki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vät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lti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le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kan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rjumass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t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äpi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hmiskunn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istorian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j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kain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kupolvi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äyttänyt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emmä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ilman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rssej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yödykse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i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t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deltäv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US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komm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t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endej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ida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utta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ja me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amm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ämä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jatuks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iakkaidemm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nss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8997DF-4F0E-43DE-90D6-7EA9656C7829}" type="slidenum">
              <a:rPr lang="fi-FI" smtClean="0"/>
              <a:t>4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396171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 err="1" smtClean="0"/>
              <a:t>Nesteläisten</a:t>
            </a:r>
            <a:r>
              <a:rPr lang="fi-FI" baseline="0" dirty="0" smtClean="0"/>
              <a:t> ja heidän perheidensä viesti kaikille teknologian parissa töitä tekeville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8997DF-4F0E-43DE-90D6-7EA9656C7829}" type="slidenum">
              <a:rPr lang="fi-FI" smtClean="0"/>
              <a:t>4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7047031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8997DF-4F0E-43DE-90D6-7EA9656C7829}" type="slidenum">
              <a:rPr lang="fi-FI" smtClean="0"/>
              <a:t>4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34579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1" i="0" u="sng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hmiset</a:t>
            </a:r>
            <a:r>
              <a:rPr lang="en-US" sz="1200" b="0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it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5 000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mistautunut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mattilai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eläisill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dell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rkas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mmärrys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sio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ategiasta</a:t>
            </a:r>
            <a:endParaRPr lang="en-US" sz="1200" b="0" i="0" u="none" strike="noStrike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1" i="0" u="sng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ikuttavuus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uonn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6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otteemm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toivat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ähäntämää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6,7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ljoona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nni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iakkaidemm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svihuonekaasupäästöj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emm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ilman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htav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eli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ottaj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joitumm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ilman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stuullisimpi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htiöid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stall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Global 100, 2018: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nd). </a:t>
            </a: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1" i="0" u="sng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teliaisuus</a:t>
            </a:r>
            <a:r>
              <a:rPr lang="en-US" sz="1200" b="1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/ T&amp;K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tkimm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te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ystymm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kemää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hä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rkealaatuisempi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otteit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hä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ikompi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atuisi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aka-ainei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  80%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ist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lttoainei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otettu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ätteist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ähteist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1" i="0" u="sng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iketoimint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ee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uode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6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tailukelpoin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ikevoitto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i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983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ljoona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uro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pamm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öskennell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eenpäi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tsova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hoka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ustuu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tkuva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hittämise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loksenteo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rmistamiseksi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8997DF-4F0E-43DE-90D6-7EA9656C7829}" type="slidenum">
              <a:rPr lang="fi-FI" smtClean="0"/>
              <a:t>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93773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idä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stuulliset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otteemm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hdollistavat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iakkaill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nistumis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ell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rell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lmass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k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miansovelluksiss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. </a:t>
            </a:r>
            <a:endParaRPr lang="en-US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Y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esel (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eliikenn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,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ähärikkine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nkkeri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riliikenn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/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ntopolttoain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ntoliikenn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ia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yös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ll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otannonaloill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mianteollisuudess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at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ovit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uottimet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ämmönsiirtonesteet</a:t>
            </a:r>
            <a:endParaRPr lang="en-US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lvl="0" indent="0">
              <a:buFont typeface="Arial" panose="020B0604020202020204" pitchFamily="34" charset="0"/>
              <a:buNone/>
            </a:pPr>
            <a:endParaRPr lang="fi-FI" i="1" dirty="0" smtClean="0"/>
          </a:p>
          <a:p>
            <a:pPr marL="0" lvl="0" indent="0">
              <a:buFont typeface="Arial" panose="020B0604020202020204" pitchFamily="34" charset="0"/>
              <a:buNone/>
            </a:pPr>
            <a:endParaRPr lang="fi-FI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8997DF-4F0E-43DE-90D6-7EA9656C7829}" type="slidenum">
              <a:rPr lang="fi-FI" smtClean="0"/>
              <a:t>7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174503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948: </a:t>
            </a:r>
            <a:r>
              <a:rPr lang="fi-FI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ämä perintö on johtanut eräisiin Euroopan hienoimpiin jalostamoihin. y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iö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filoitui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rkealaatuiste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uhtaampi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öljytuotteid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lostajaksi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05: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e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stautui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lsingi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össii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svu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skittyi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i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otteid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lostamise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en-US" b="0" dirty="0">
              <a:effectLst/>
            </a:endParaRPr>
          </a:p>
          <a:p>
            <a:pPr rtl="0"/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06:  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ämä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ategine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äätös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k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knologin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saamisemm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hnyt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ist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ilman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htav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eli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ottaj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unnannäyttäjä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ertotaloudess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ikki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t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hdää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än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äivän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ssiilise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öljyst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ida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levaisuudess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otta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i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aka-ainei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t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sviöljyist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k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ät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ja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ähderasvoi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rtl="0"/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07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simmäin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i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otteid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itos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attii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rvoose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uraav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attii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uonn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9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rvoos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apore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2010) ja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tterdamii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2011). </a:t>
            </a:r>
          </a:p>
          <a:p>
            <a:pPr rtl="0"/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09: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U-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so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voit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steta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ergi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suus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ikenteess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0 %: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i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uote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0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nness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rtl="0"/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09-2015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oitimm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eliikente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a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lttoainee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irryimm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yös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ntoliikenteese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Vuonna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2011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uusiutuva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lentopolttoaine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hyväksyttiin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kaupalliseen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käyttöö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ja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emm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tkaneet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i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otteid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lobaali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iketoiminta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rtl="0"/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6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ämä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keä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dist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e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tkuvas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ategi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hittämisest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it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t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eell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hdää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ikei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ioi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rtl="0"/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0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voitteemm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avutta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3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ljoon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nni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pasiteetti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uote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0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nness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Vuodesta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2021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alkaen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uusiutuvat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lenttopolttoaineet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esitetään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yhtenä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tapana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vähentää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hiilidioksidipäästöjä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Uusi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EU-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tason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tavoite-ehdotus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on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nostaa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uusiutuvan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energian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osuus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27 %: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iin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vuoteen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2030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mennessä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Tämä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tavoite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pitää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sisällään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velvoitteen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sekoittaa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ns.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edistyneitä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uusiutuvia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polttoaineita</a:t>
            </a:r>
            <a:r>
              <a:rPr lang="en-US" sz="1200" b="0" i="0" u="none" strike="noStrike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8997DF-4F0E-43DE-90D6-7EA9656C7829}" type="slidenum">
              <a:rPr lang="fi-FI" smtClean="0"/>
              <a:t>9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920029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ältä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utos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äyttää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ikki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iketoiminna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sat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at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nnattavia</a:t>
            </a:r>
            <a:endParaRPr lang="en-US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äätöksemm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at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soittautuneet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ikeiksi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äkyvät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yös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loksess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sakkee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vossa</a:t>
            </a:r>
            <a:endParaRPr lang="en-US" sz="1200" b="0" i="0" u="none" strike="noStrike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>
              <a:solidFill>
                <a:srgbClr val="FF0000"/>
              </a:solidFill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8997DF-4F0E-43DE-90D6-7EA9656C7829}" type="slidenum">
              <a:rPr lang="fi-FI" smtClean="0"/>
              <a:t>10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640107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fld id="{E5247094-0427-CE47-B73F-DFD39E13D86F}" type="slidenum">
              <a:rPr lang="fi-FI">
                <a:solidFill>
                  <a:prstClr val="black"/>
                </a:solidFill>
              </a:rPr>
              <a:pPr eaLnBrk="1" hangingPunct="1"/>
              <a:t>12</a:t>
            </a:fld>
            <a:endParaRPr lang="fi-FI">
              <a:solidFill>
                <a:prstClr val="black"/>
              </a:solidFill>
            </a:endParaRPr>
          </a:p>
        </p:txBody>
      </p:sp>
      <p:sp>
        <p:nvSpPr>
          <p:cNvPr id="49155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fi-FI" dirty="0" smtClean="0"/>
              <a:t>Meidän kaksi strategista tavoitettamme:</a:t>
            </a:r>
            <a:endParaRPr lang="fi-FI" dirty="0"/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fi-FI" dirty="0" smtClean="0"/>
              <a:t>Olemme</a:t>
            </a:r>
            <a:r>
              <a:rPr lang="fi-FI" baseline="0" dirty="0" smtClean="0"/>
              <a:t> vahvasti </a:t>
            </a:r>
            <a:r>
              <a:rPr lang="fi-FI" dirty="0" smtClean="0"/>
              <a:t>läsnä kotimarkkinoilla Itämeren alueella, missä tarjoamme vähähiilisiä ja vastuullisia ratkaisuja yrityksille ja kuluttajille.</a:t>
            </a: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lobaali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svumm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ustuu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siutuvii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otteisii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eaLnBrk="1" hangingPunct="1"/>
            <a:endParaRPr lang="fi-FI" dirty="0"/>
          </a:p>
          <a:p>
            <a:pPr eaLnBrk="1" hangingPunct="1"/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437188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 smtClean="0"/>
              <a:t>Johtava toimija Itämeren alueella:</a:t>
            </a:r>
            <a:endParaRPr lang="fi-FI" dirty="0"/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 </a:t>
            </a:r>
            <a:r>
              <a:rPr lang="fi-FI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upallinen kyky räätälöidä asiakaskeskeisiä ratkaisuja, joissa</a:t>
            </a:r>
            <a:r>
              <a:rPr lang="fi-FI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idaan </a:t>
            </a:r>
            <a:r>
              <a:rPr lang="fi-FI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hdistää fossiilisia ja vähähiilisiä uusiutuvia tuotteita. Olemme lähellä asiakkaitamme Pohjoismaissa ja Baltiassa.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amm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iakkaitamme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kemään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stuullisi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lintoj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itsi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eliikenteessä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yös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rellä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rjoamall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ähärikkist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ivapolttoainett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distyneet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lostamomm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rvooss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antaliss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at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uroop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lpailukykyisimpi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fi-FI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nostamme </a:t>
            </a:r>
            <a:r>
              <a:rPr lang="fi-FI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rvallisuuteen</a:t>
            </a:r>
            <a:r>
              <a:rPr lang="fi-FI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</a:t>
            </a:r>
            <a:r>
              <a:rPr lang="fi-FI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rssitehokkuuteen</a:t>
            </a:r>
            <a:r>
              <a:rPr lang="fi-FI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kä jalostamoiden toimintaan </a:t>
            </a:r>
            <a:r>
              <a:rPr lang="fi-FI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htenä kokonaisuutena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 790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ema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omess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0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näjällä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ietari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ueell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88 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ltia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ss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lvelevat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iakkaitamm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fi-FI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hitämme asiakaskokemusta ja räätälöityjä tuotteita ja palveluita asiakkaiden tarpeisiin.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fi-FI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8997DF-4F0E-43DE-90D6-7EA9656C7829}" type="slidenum">
              <a:rPr lang="fi-FI" smtClean="0"/>
              <a:t>1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785180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 err="1" smtClean="0"/>
              <a:t>Olemme</a:t>
            </a:r>
            <a:r>
              <a:rPr lang="en-GB" dirty="0" smtClean="0"/>
              <a:t> </a:t>
            </a:r>
            <a:r>
              <a:rPr lang="en-GB" dirty="0" err="1" smtClean="0"/>
              <a:t>onnistunee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laajentamaa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raaka-ainepohjaamm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jätteisii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j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tähteisiin</a:t>
            </a:r>
            <a:r>
              <a:rPr lang="en-GB" baseline="0" dirty="0" smtClean="0"/>
              <a:t>. </a:t>
            </a:r>
            <a:r>
              <a:rPr lang="en-GB" baseline="0" dirty="0" err="1" smtClean="0"/>
              <a:t>Tällä</a:t>
            </a:r>
            <a:r>
              <a:rPr lang="en-GB" baseline="0" dirty="0" smtClean="0"/>
              <a:t> </a:t>
            </a:r>
            <a:r>
              <a:rPr lang="en-GB" baseline="0" dirty="0" err="1" smtClean="0"/>
              <a:t>hetkellä</a:t>
            </a:r>
            <a:r>
              <a:rPr lang="en-GB" baseline="0" dirty="0" smtClean="0"/>
              <a:t> </a:t>
            </a:r>
            <a:r>
              <a:rPr lang="en-GB" baseline="0" dirty="0" err="1" smtClean="0"/>
              <a:t>niid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osuus</a:t>
            </a:r>
            <a:r>
              <a:rPr lang="en-GB" baseline="0" dirty="0" smtClean="0"/>
              <a:t> </a:t>
            </a:r>
            <a:r>
              <a:rPr lang="en-GB" baseline="0" dirty="0" err="1" smtClean="0"/>
              <a:t>yhtiö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uusiutuvi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raaka-aineid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käytöstä</a:t>
            </a:r>
            <a:r>
              <a:rPr lang="en-GB" baseline="0" dirty="0" smtClean="0"/>
              <a:t> on </a:t>
            </a:r>
            <a:r>
              <a:rPr lang="en-GB" baseline="0" dirty="0" err="1" smtClean="0"/>
              <a:t>noin</a:t>
            </a:r>
            <a:r>
              <a:rPr lang="en-GB" baseline="0" dirty="0" smtClean="0"/>
              <a:t> 80 %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Haluamm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jatka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raaka-ainepohja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laajentamist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yhä</a:t>
            </a:r>
            <a:r>
              <a:rPr lang="en-GB" baseline="0" dirty="0" smtClean="0"/>
              <a:t> </a:t>
            </a:r>
            <a:r>
              <a:rPr lang="en-GB" baseline="0" dirty="0" err="1" smtClean="0"/>
              <a:t>edelleen</a:t>
            </a:r>
            <a:r>
              <a:rPr lang="en-GB" baseline="0" dirty="0" smtClean="0"/>
              <a:t>. </a:t>
            </a:r>
            <a:r>
              <a:rPr lang="en-GB" baseline="0" dirty="0" err="1" smtClean="0"/>
              <a:t>Keskitymm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yhä</a:t>
            </a:r>
            <a:r>
              <a:rPr lang="en-GB" baseline="0" dirty="0" smtClean="0"/>
              <a:t> </a:t>
            </a:r>
            <a:r>
              <a:rPr lang="en-GB" baseline="0" dirty="0" err="1" smtClean="0"/>
              <a:t>heikomp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laatuisii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raaka-ainelähteisiin</a:t>
            </a:r>
            <a:r>
              <a:rPr lang="en-GB" baseline="0" dirty="0" smtClean="0"/>
              <a:t>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Kasvutavoitteemme</a:t>
            </a:r>
            <a:r>
              <a:rPr lang="en-GB" baseline="0" dirty="0" smtClean="0"/>
              <a:t> on </a:t>
            </a:r>
            <a:r>
              <a:rPr lang="en-GB" baseline="0" dirty="0" err="1" smtClean="0"/>
              <a:t>liikente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ulkopuolisis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ovelluksissa</a:t>
            </a:r>
            <a:r>
              <a:rPr lang="en-GB" baseline="0" dirty="0" smtClean="0"/>
              <a:t>: </a:t>
            </a:r>
            <a:r>
              <a:rPr lang="en-GB" baseline="0" dirty="0" err="1" smtClean="0"/>
              <a:t>tavoitteemme</a:t>
            </a:r>
            <a:r>
              <a:rPr lang="en-GB" baseline="0" dirty="0" smtClean="0"/>
              <a:t> on, </a:t>
            </a:r>
            <a:r>
              <a:rPr lang="en-GB" baseline="0" dirty="0" err="1" smtClean="0"/>
              <a:t>että</a:t>
            </a:r>
            <a:r>
              <a:rPr lang="en-GB" baseline="0" dirty="0" smtClean="0"/>
              <a:t> </a:t>
            </a:r>
            <a:r>
              <a:rPr lang="en-GB" b="1" baseline="0" dirty="0" smtClean="0"/>
              <a:t>20 % </a:t>
            </a:r>
            <a:r>
              <a:rPr lang="en-GB" b="1" baseline="0" dirty="0" err="1" smtClean="0"/>
              <a:t>uusiutuvien</a:t>
            </a:r>
            <a:r>
              <a:rPr lang="en-GB" b="1" baseline="0" dirty="0" smtClean="0"/>
              <a:t> </a:t>
            </a:r>
            <a:r>
              <a:rPr lang="en-GB" b="1" baseline="0" dirty="0" err="1" smtClean="0"/>
              <a:t>myyntivolyymista</a:t>
            </a:r>
            <a:r>
              <a:rPr lang="en-GB" b="1" baseline="0" dirty="0" smtClean="0"/>
              <a:t> </a:t>
            </a:r>
            <a:r>
              <a:rPr lang="en-GB" b="0" baseline="0" dirty="0" err="1" smtClean="0"/>
              <a:t>tulee</a:t>
            </a:r>
            <a:r>
              <a:rPr lang="en-GB" b="1" baseline="0" dirty="0" smtClean="0"/>
              <a:t> </a:t>
            </a:r>
            <a:r>
              <a:rPr lang="en-GB" b="1" baseline="0" dirty="0" err="1" smtClean="0"/>
              <a:t>tieliikenteen</a:t>
            </a:r>
            <a:r>
              <a:rPr lang="en-GB" b="1" baseline="0" dirty="0" smtClean="0"/>
              <a:t> </a:t>
            </a:r>
            <a:r>
              <a:rPr lang="en-GB" b="1" baseline="0" dirty="0" err="1" smtClean="0"/>
              <a:t>ulkopuolisiin</a:t>
            </a:r>
            <a:r>
              <a:rPr lang="en-GB" b="1" baseline="0" dirty="0" smtClean="0"/>
              <a:t> </a:t>
            </a:r>
            <a:r>
              <a:rPr lang="en-GB" baseline="0" dirty="0" err="1" smtClean="0"/>
              <a:t>sovellutuksist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vuonna</a:t>
            </a:r>
            <a:r>
              <a:rPr lang="en-GB" baseline="0" dirty="0" smtClean="0"/>
              <a:t> 2020 </a:t>
            </a:r>
            <a:endParaRPr lang="en-GB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8997DF-4F0E-43DE-90D6-7EA9656C7829}" type="slidenum">
              <a:rPr lang="fi-FI" smtClean="0"/>
              <a:t>1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263441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fld id="{E5247094-0427-CE47-B73F-DFD39E13D86F}" type="slidenum">
              <a:rPr lang="fi-FI">
                <a:solidFill>
                  <a:prstClr val="black"/>
                </a:solidFill>
              </a:rPr>
              <a:pPr eaLnBrk="1" hangingPunct="1"/>
              <a:t>15</a:t>
            </a:fld>
            <a:endParaRPr lang="fi-FI">
              <a:solidFill>
                <a:prstClr val="black"/>
              </a:solidFill>
            </a:endParaRPr>
          </a:p>
        </p:txBody>
      </p:sp>
      <p:sp>
        <p:nvSpPr>
          <p:cNvPr id="49155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fi-FI" dirty="0" smtClean="0"/>
              <a:t>Öljytuotteet Kapasiteetti 15 milj. tonnia vuodessa. tarjoaa ratkaisuja, jotka perustuvat vähähiilisiin vaihtoehtoihin, korkealaatuisiin öljytuotteisiin sekä niihin liittyviin palveluihin. Päämarkkina-alueet ovat Itämeren alue ja muu Eurooppa sekä Pohjois-Amerikka.</a:t>
            </a:r>
          </a:p>
          <a:p>
            <a:pPr eaLnBrk="1" hangingPunct="1"/>
            <a:r>
              <a:rPr lang="fi-FI" dirty="0" smtClean="0"/>
              <a:t>Uusiutuvat tuotteet Kapasiteetti 2,6 milj. tonnia vuodessa. tarjoaa uusiutuvaa dieseliä, uusiutuvaa lentopolttoainetta, biopohjaisia liuottimia ja raaka-ainetta biomuoveihin. Päämarkkina-alueet ovat Eurooppa ja Pohjois-Amerikka.</a:t>
            </a:r>
          </a:p>
          <a:p>
            <a:pPr eaLnBrk="1" hangingPunct="1"/>
            <a:r>
              <a:rPr lang="fi-FI" dirty="0" smtClean="0"/>
              <a:t>Marketing &amp; Services Yhteensä yli 1 000 asemaa. on tärkeä markkinointikanava yhtiön laajalle palveluiden ja korkealaatuisten tuotteiden valikoimalle. Suomessa noin 800 asemaa, Pietarin alueella </a:t>
            </a:r>
            <a:r>
              <a:rPr lang="fi-FI" dirty="0" err="1" smtClean="0"/>
              <a:t>Luoteis</a:t>
            </a:r>
            <a:r>
              <a:rPr lang="fi-FI" dirty="0" smtClean="0"/>
              <a:t>-Venäjällä noin 70 asemaa ja Baltian maissa (Viro, Latvia ja Liettua) noin 200 asemaa.</a:t>
            </a:r>
          </a:p>
          <a:p>
            <a:pPr eaLnBrk="1" hangingPunct="1"/>
            <a:endParaRPr lang="fi-FI" dirty="0"/>
          </a:p>
          <a:p>
            <a:pPr eaLnBrk="1" hangingPunct="1"/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995239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/>
          <p:cNvGrpSpPr/>
          <p:nvPr userDrawn="1"/>
        </p:nvGrpSpPr>
        <p:grpSpPr>
          <a:xfrm>
            <a:off x="135695" y="2338"/>
            <a:ext cx="9005689" cy="5149755"/>
            <a:chOff x="128438" y="9595"/>
            <a:chExt cx="9005689" cy="5149755"/>
          </a:xfrm>
        </p:grpSpPr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4821926" y="315900"/>
              <a:ext cx="4312201" cy="4503643"/>
            </a:xfrm>
            <a:custGeom>
              <a:avLst/>
              <a:gdLst>
                <a:gd name="T0" fmla="*/ 0 w 11899"/>
                <a:gd name="T1" fmla="*/ 6212 h 12425"/>
                <a:gd name="T2" fmla="*/ 6214 w 11899"/>
                <a:gd name="T3" fmla="*/ 0 h 12425"/>
                <a:gd name="T4" fmla="*/ 11899 w 11899"/>
                <a:gd name="T5" fmla="*/ 0 h 12425"/>
                <a:gd name="T6" fmla="*/ 11899 w 11899"/>
                <a:gd name="T7" fmla="*/ 8727 h 12425"/>
                <a:gd name="T8" fmla="*/ 6214 w 11899"/>
                <a:gd name="T9" fmla="*/ 12425 h 12425"/>
                <a:gd name="T10" fmla="*/ 0 w 11899"/>
                <a:gd name="T11" fmla="*/ 6212 h 12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99" h="12425">
                  <a:moveTo>
                    <a:pt x="0" y="6212"/>
                  </a:moveTo>
                  <a:cubicBezTo>
                    <a:pt x="0" y="2782"/>
                    <a:pt x="2783" y="0"/>
                    <a:pt x="6214" y="0"/>
                  </a:cubicBezTo>
                  <a:lnTo>
                    <a:pt x="11899" y="0"/>
                  </a:lnTo>
                  <a:moveTo>
                    <a:pt x="11899" y="8727"/>
                  </a:moveTo>
                  <a:cubicBezTo>
                    <a:pt x="10933" y="10905"/>
                    <a:pt x="8752" y="12425"/>
                    <a:pt x="6214" y="12425"/>
                  </a:cubicBezTo>
                  <a:cubicBezTo>
                    <a:pt x="2783" y="12425"/>
                    <a:pt x="0" y="9644"/>
                    <a:pt x="0" y="6212"/>
                  </a:cubicBezTo>
                </a:path>
              </a:pathLst>
            </a:custGeom>
            <a:noFill/>
            <a:ln w="12700" cap="flat">
              <a:solidFill>
                <a:srgbClr val="66CD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28438" y="2870038"/>
              <a:ext cx="737047" cy="2289312"/>
            </a:xfrm>
            <a:custGeom>
              <a:avLst/>
              <a:gdLst>
                <a:gd name="T0" fmla="*/ 2037 w 2037"/>
                <a:gd name="T1" fmla="*/ 6314 h 6314"/>
                <a:gd name="T2" fmla="*/ 0 w 2037"/>
                <a:gd name="T3" fmla="*/ 0 h 6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037" h="6314">
                  <a:moveTo>
                    <a:pt x="2037" y="6314"/>
                  </a:moveTo>
                  <a:cubicBezTo>
                    <a:pt x="756" y="4538"/>
                    <a:pt x="0" y="2358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66CD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218125" y="9595"/>
              <a:ext cx="737047" cy="5149755"/>
            </a:xfrm>
            <a:custGeom>
              <a:avLst/>
              <a:gdLst>
                <a:gd name="T0" fmla="*/ 2037 w 2037"/>
                <a:gd name="T1" fmla="*/ 0 h 14206"/>
                <a:gd name="T2" fmla="*/ 2037 w 2037"/>
                <a:gd name="T3" fmla="*/ 7892 h 14206"/>
                <a:gd name="T4" fmla="*/ 0 w 2037"/>
                <a:gd name="T5" fmla="*/ 14206 h 14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37" h="14206">
                  <a:moveTo>
                    <a:pt x="2037" y="0"/>
                  </a:moveTo>
                  <a:lnTo>
                    <a:pt x="2037" y="7892"/>
                  </a:lnTo>
                  <a:cubicBezTo>
                    <a:pt x="2037" y="10250"/>
                    <a:pt x="1282" y="12430"/>
                    <a:pt x="0" y="14206"/>
                  </a:cubicBezTo>
                </a:path>
              </a:pathLst>
            </a:custGeom>
            <a:noFill/>
            <a:ln w="12700" cap="flat">
              <a:solidFill>
                <a:srgbClr val="66CD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8438" y="9595"/>
              <a:ext cx="1241174" cy="2860443"/>
            </a:xfrm>
            <a:custGeom>
              <a:avLst/>
              <a:gdLst>
                <a:gd name="T0" fmla="*/ 0 w 3429"/>
                <a:gd name="T1" fmla="*/ 7892 h 7892"/>
                <a:gd name="T2" fmla="*/ 3429 w 3429"/>
                <a:gd name="T3" fmla="*/ 0 h 7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29" h="7892">
                  <a:moveTo>
                    <a:pt x="0" y="7892"/>
                  </a:moveTo>
                  <a:cubicBezTo>
                    <a:pt x="0" y="4778"/>
                    <a:pt x="1319" y="1971"/>
                    <a:pt x="3429" y="0"/>
                  </a:cubicBezTo>
                </a:path>
              </a:pathLst>
            </a:custGeom>
            <a:noFill/>
            <a:ln w="12700" cap="flat">
              <a:solidFill>
                <a:srgbClr val="66CD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727200" y="1263600"/>
            <a:ext cx="3916800" cy="1594800"/>
          </a:xfrm>
        </p:spPr>
        <p:txBody>
          <a:bodyPr anchor="b">
            <a:normAutofit/>
          </a:bodyPr>
          <a:lstStyle>
            <a:lvl1pPr algn="l">
              <a:defRPr sz="2800">
                <a:solidFill>
                  <a:srgbClr val="001177"/>
                </a:solidFill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727200" y="3009600"/>
            <a:ext cx="3916800" cy="784800"/>
          </a:xfrm>
        </p:spPr>
        <p:txBody>
          <a:bodyPr>
            <a:norm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sub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8" name="Tekstin paikkamerkki 7"/>
          <p:cNvSpPr>
            <a:spLocks noGrp="1"/>
          </p:cNvSpPr>
          <p:nvPr>
            <p:ph type="body" sz="quarter" idx="13" hasCustomPrompt="1"/>
          </p:nvPr>
        </p:nvSpPr>
        <p:spPr>
          <a:xfrm>
            <a:off x="727075" y="3942000"/>
            <a:ext cx="3916800" cy="518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000"/>
            </a:lvl1pPr>
          </a:lstStyle>
          <a:p>
            <a:pPr lvl="0"/>
            <a:r>
              <a:rPr lang="en-US" dirty="0"/>
              <a:t>N. N., title or business unit, example@neste.com</a:t>
            </a:r>
          </a:p>
        </p:txBody>
      </p:sp>
    </p:spTree>
    <p:extLst>
      <p:ext uri="{BB962C8B-B14F-4D97-AF65-F5344CB8AC3E}">
        <p14:creationId xmlns:p14="http://schemas.microsoft.com/office/powerpoint/2010/main" val="20764524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Click to edit Master title style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244800" y="1346400"/>
            <a:ext cx="3308400" cy="3308400"/>
          </a:xfrm>
          <a:prstGeom prst="roundRect">
            <a:avLst>
              <a:gd name="adj" fmla="val 2252"/>
            </a:avLst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 sz="1600"/>
            </a:lvl2pPr>
            <a:lvl3pPr marL="914400" indent="0">
              <a:buFontTx/>
              <a:buNone/>
              <a:defRPr sz="1600"/>
            </a:lvl3pPr>
            <a:lvl4pPr marL="1371600" indent="0">
              <a:buFontTx/>
              <a:buNone/>
              <a:defRPr sz="1600"/>
            </a:lvl4pPr>
            <a:lvl5pPr marL="1828800" indent="0">
              <a:buFontTx/>
              <a:buNone/>
              <a:defRPr sz="1600"/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3672000" y="1346400"/>
            <a:ext cx="5223600" cy="3308400"/>
          </a:xfrm>
          <a:prstGeom prst="roundRect">
            <a:avLst>
              <a:gd name="adj" fmla="val 2440"/>
            </a:avLst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 sz="1600"/>
            </a:lvl2pPr>
            <a:lvl3pPr marL="914400" indent="0">
              <a:buFontTx/>
              <a:buNone/>
              <a:defRPr sz="1600"/>
            </a:lvl3pPr>
            <a:lvl4pPr marL="1371600" indent="0">
              <a:buFontTx/>
              <a:buNone/>
              <a:defRPr sz="1600"/>
            </a:lvl4pPr>
            <a:lvl5pPr marL="1828800" indent="0">
              <a:buFontTx/>
              <a:buNone/>
              <a:defRPr sz="1600"/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FCC17-AA82-4E5F-A953-1C715E21C7E0}" type="datetime1">
              <a:rPr lang="fi-FI" smtClean="0"/>
              <a:t>4.2.2019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48963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isällön paikkamerkki 3"/>
          <p:cNvSpPr>
            <a:spLocks noGrp="1"/>
          </p:cNvSpPr>
          <p:nvPr>
            <p:ph sz="half" idx="14"/>
          </p:nvPr>
        </p:nvSpPr>
        <p:spPr>
          <a:xfrm>
            <a:off x="244800" y="1346400"/>
            <a:ext cx="5223600" cy="3308400"/>
          </a:xfrm>
          <a:prstGeom prst="roundRect">
            <a:avLst>
              <a:gd name="adj" fmla="val 2440"/>
            </a:avLst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 sz="1600"/>
            </a:lvl2pPr>
            <a:lvl3pPr marL="914400" indent="0">
              <a:buFontTx/>
              <a:buNone/>
              <a:defRPr sz="1600"/>
            </a:lvl3pPr>
            <a:lvl4pPr marL="1371600" indent="0">
              <a:buFontTx/>
              <a:buNone/>
              <a:defRPr sz="1600"/>
            </a:lvl4pPr>
            <a:lvl5pPr marL="1828800" indent="0">
              <a:buFontTx/>
              <a:buNone/>
              <a:defRPr sz="160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44800" y="244800"/>
            <a:ext cx="8654400" cy="979200"/>
          </a:xfrm>
        </p:spPr>
        <p:txBody>
          <a:bodyPr/>
          <a:lstStyle/>
          <a:p>
            <a:r>
              <a:rPr lang="fi-FI"/>
              <a:t>Click to edit Master title style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EB1F9-DF42-4AAB-87D2-C6BCFA368ABD}" type="datetime1">
              <a:rPr lang="fi-FI" smtClean="0"/>
              <a:t>4.2.2019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Sisällön paikkamerkki 2"/>
          <p:cNvSpPr>
            <a:spLocks noGrp="1"/>
          </p:cNvSpPr>
          <p:nvPr>
            <p:ph sz="half" idx="13"/>
          </p:nvPr>
        </p:nvSpPr>
        <p:spPr>
          <a:xfrm>
            <a:off x="5590800" y="1346400"/>
            <a:ext cx="3308400" cy="3308400"/>
          </a:xfrm>
          <a:prstGeom prst="roundRect">
            <a:avLst>
              <a:gd name="adj" fmla="val 2252"/>
            </a:avLst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 sz="1600"/>
            </a:lvl2pPr>
            <a:lvl3pPr marL="914400" indent="0">
              <a:buFontTx/>
              <a:buNone/>
              <a:defRPr sz="1600"/>
            </a:lvl3pPr>
            <a:lvl4pPr marL="1371600" indent="0">
              <a:buFontTx/>
              <a:buNone/>
              <a:defRPr sz="1600"/>
            </a:lvl4pPr>
            <a:lvl5pPr marL="1828800" indent="0">
              <a:buFontTx/>
              <a:buNone/>
              <a:defRPr sz="160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551324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Click to edit Master title style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04D6D-9A22-414E-96F5-FC047BC3016D}" type="datetime1">
              <a:rPr lang="fi-FI" smtClean="0"/>
              <a:t>4.2.2019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479011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CF983-E4CC-4BC6-8576-3F2C5D45E90F}" type="datetime1">
              <a:rPr lang="fi-FI" smtClean="0"/>
              <a:t>4.2.2019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882176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AB4AD0-33EF-4B14-9A7F-60E3FDF5FFFA}" type="datetime1">
              <a:rPr lang="fi-FI" smtClean="0"/>
              <a:t>4.2.2019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‹#›</a:t>
            </a:fld>
            <a:endParaRPr lang="fi-FI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244800" y="244800"/>
            <a:ext cx="8654400" cy="4415974"/>
          </a:xfrm>
          <a:custGeom>
            <a:avLst/>
            <a:gdLst>
              <a:gd name="connsiteX0" fmla="*/ 0 w 8654400"/>
              <a:gd name="connsiteY0" fmla="*/ 88166 h 4412700"/>
              <a:gd name="connsiteX1" fmla="*/ 88166 w 8654400"/>
              <a:gd name="connsiteY1" fmla="*/ 0 h 4412700"/>
              <a:gd name="connsiteX2" fmla="*/ 8566234 w 8654400"/>
              <a:gd name="connsiteY2" fmla="*/ 0 h 4412700"/>
              <a:gd name="connsiteX3" fmla="*/ 8654400 w 8654400"/>
              <a:gd name="connsiteY3" fmla="*/ 88166 h 4412700"/>
              <a:gd name="connsiteX4" fmla="*/ 8654400 w 8654400"/>
              <a:gd name="connsiteY4" fmla="*/ 4324534 h 4412700"/>
              <a:gd name="connsiteX5" fmla="*/ 8566234 w 8654400"/>
              <a:gd name="connsiteY5" fmla="*/ 4412700 h 4412700"/>
              <a:gd name="connsiteX6" fmla="*/ 88166 w 8654400"/>
              <a:gd name="connsiteY6" fmla="*/ 4412700 h 4412700"/>
              <a:gd name="connsiteX7" fmla="*/ 0 w 8654400"/>
              <a:gd name="connsiteY7" fmla="*/ 4324534 h 4412700"/>
              <a:gd name="connsiteX8" fmla="*/ 0 w 8654400"/>
              <a:gd name="connsiteY8" fmla="*/ 88166 h 4412700"/>
              <a:gd name="connsiteX0" fmla="*/ 8566234 w 8745840"/>
              <a:gd name="connsiteY0" fmla="*/ 4412700 h 4415974"/>
              <a:gd name="connsiteX1" fmla="*/ 88166 w 8745840"/>
              <a:gd name="connsiteY1" fmla="*/ 4412700 h 4415974"/>
              <a:gd name="connsiteX2" fmla="*/ 0 w 8745840"/>
              <a:gd name="connsiteY2" fmla="*/ 4324534 h 4415974"/>
              <a:gd name="connsiteX3" fmla="*/ 0 w 8745840"/>
              <a:gd name="connsiteY3" fmla="*/ 88166 h 4415974"/>
              <a:gd name="connsiteX4" fmla="*/ 88166 w 8745840"/>
              <a:gd name="connsiteY4" fmla="*/ 0 h 4415974"/>
              <a:gd name="connsiteX5" fmla="*/ 8566234 w 8745840"/>
              <a:gd name="connsiteY5" fmla="*/ 0 h 4415974"/>
              <a:gd name="connsiteX6" fmla="*/ 8654400 w 8745840"/>
              <a:gd name="connsiteY6" fmla="*/ 88166 h 4415974"/>
              <a:gd name="connsiteX7" fmla="*/ 8745840 w 8745840"/>
              <a:gd name="connsiteY7" fmla="*/ 4415974 h 4415974"/>
              <a:gd name="connsiteX0" fmla="*/ 8566234 w 8745840"/>
              <a:gd name="connsiteY0" fmla="*/ 4412700 h 4415974"/>
              <a:gd name="connsiteX1" fmla="*/ 88166 w 8745840"/>
              <a:gd name="connsiteY1" fmla="*/ 4412700 h 4415974"/>
              <a:gd name="connsiteX2" fmla="*/ 0 w 8745840"/>
              <a:gd name="connsiteY2" fmla="*/ 4324534 h 4415974"/>
              <a:gd name="connsiteX3" fmla="*/ 0 w 8745840"/>
              <a:gd name="connsiteY3" fmla="*/ 88166 h 4415974"/>
              <a:gd name="connsiteX4" fmla="*/ 88166 w 8745840"/>
              <a:gd name="connsiteY4" fmla="*/ 0 h 4415974"/>
              <a:gd name="connsiteX5" fmla="*/ 8566234 w 8745840"/>
              <a:gd name="connsiteY5" fmla="*/ 0 h 4415974"/>
              <a:gd name="connsiteX6" fmla="*/ 8654400 w 8745840"/>
              <a:gd name="connsiteY6" fmla="*/ 88166 h 4415974"/>
              <a:gd name="connsiteX7" fmla="*/ 8745840 w 8745840"/>
              <a:gd name="connsiteY7" fmla="*/ 4415974 h 4415974"/>
              <a:gd name="connsiteX8" fmla="*/ 8566234 w 8745840"/>
              <a:gd name="connsiteY8" fmla="*/ 4412700 h 4415974"/>
              <a:gd name="connsiteX0" fmla="*/ 8745840 w 8745840"/>
              <a:gd name="connsiteY0" fmla="*/ 4415974 h 4415974"/>
              <a:gd name="connsiteX1" fmla="*/ 88166 w 8745840"/>
              <a:gd name="connsiteY1" fmla="*/ 4412700 h 4415974"/>
              <a:gd name="connsiteX2" fmla="*/ 0 w 8745840"/>
              <a:gd name="connsiteY2" fmla="*/ 4324534 h 4415974"/>
              <a:gd name="connsiteX3" fmla="*/ 0 w 8745840"/>
              <a:gd name="connsiteY3" fmla="*/ 88166 h 4415974"/>
              <a:gd name="connsiteX4" fmla="*/ 88166 w 8745840"/>
              <a:gd name="connsiteY4" fmla="*/ 0 h 4415974"/>
              <a:gd name="connsiteX5" fmla="*/ 8566234 w 8745840"/>
              <a:gd name="connsiteY5" fmla="*/ 0 h 4415974"/>
              <a:gd name="connsiteX6" fmla="*/ 8654400 w 8745840"/>
              <a:gd name="connsiteY6" fmla="*/ 88166 h 4415974"/>
              <a:gd name="connsiteX7" fmla="*/ 8745840 w 8745840"/>
              <a:gd name="connsiteY7" fmla="*/ 4415974 h 4415974"/>
              <a:gd name="connsiteX0" fmla="*/ 8653765 w 8654400"/>
              <a:gd name="connsiteY0" fmla="*/ 4415974 h 4415974"/>
              <a:gd name="connsiteX1" fmla="*/ 88166 w 8654400"/>
              <a:gd name="connsiteY1" fmla="*/ 4412700 h 4415974"/>
              <a:gd name="connsiteX2" fmla="*/ 0 w 8654400"/>
              <a:gd name="connsiteY2" fmla="*/ 4324534 h 4415974"/>
              <a:gd name="connsiteX3" fmla="*/ 0 w 8654400"/>
              <a:gd name="connsiteY3" fmla="*/ 88166 h 4415974"/>
              <a:gd name="connsiteX4" fmla="*/ 88166 w 8654400"/>
              <a:gd name="connsiteY4" fmla="*/ 0 h 4415974"/>
              <a:gd name="connsiteX5" fmla="*/ 8566234 w 8654400"/>
              <a:gd name="connsiteY5" fmla="*/ 0 h 4415974"/>
              <a:gd name="connsiteX6" fmla="*/ 8654400 w 8654400"/>
              <a:gd name="connsiteY6" fmla="*/ 88166 h 4415974"/>
              <a:gd name="connsiteX7" fmla="*/ 8653765 w 8654400"/>
              <a:gd name="connsiteY7" fmla="*/ 4415974 h 441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4400" h="4415974">
                <a:moveTo>
                  <a:pt x="8653765" y="4415974"/>
                </a:moveTo>
                <a:lnTo>
                  <a:pt x="88166" y="4412700"/>
                </a:lnTo>
                <a:cubicBezTo>
                  <a:pt x="39473" y="4412700"/>
                  <a:pt x="0" y="4373227"/>
                  <a:pt x="0" y="4324534"/>
                </a:cubicBezTo>
                <a:lnTo>
                  <a:pt x="0" y="88166"/>
                </a:lnTo>
                <a:cubicBezTo>
                  <a:pt x="0" y="39473"/>
                  <a:pt x="39473" y="0"/>
                  <a:pt x="88166" y="0"/>
                </a:cubicBezTo>
                <a:lnTo>
                  <a:pt x="8566234" y="0"/>
                </a:lnTo>
                <a:cubicBezTo>
                  <a:pt x="8614927" y="0"/>
                  <a:pt x="8654400" y="39473"/>
                  <a:pt x="8654400" y="88166"/>
                </a:cubicBezTo>
                <a:cubicBezTo>
                  <a:pt x="8654400" y="1500289"/>
                  <a:pt x="8653765" y="4415974"/>
                  <a:pt x="8653765" y="4415974"/>
                </a:cubicBezTo>
                <a:close/>
              </a:path>
            </a:pathLst>
          </a:cu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14936115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98CFD9-1A74-48B8-9ED0-4F7F10AC0561}" type="datetime1">
              <a:rPr lang="fi-FI" smtClean="0"/>
              <a:t>4.2.2019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‹#›</a:t>
            </a:fld>
            <a:endParaRPr lang="fi-FI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4633883" y="244342"/>
            <a:ext cx="4265760" cy="4414057"/>
          </a:xfrm>
          <a:custGeom>
            <a:avLst/>
            <a:gdLst>
              <a:gd name="connsiteX0" fmla="*/ 0 w 4204800"/>
              <a:gd name="connsiteY0" fmla="*/ 84012 h 4412700"/>
              <a:gd name="connsiteX1" fmla="*/ 84012 w 4204800"/>
              <a:gd name="connsiteY1" fmla="*/ 0 h 4412700"/>
              <a:gd name="connsiteX2" fmla="*/ 4120788 w 4204800"/>
              <a:gd name="connsiteY2" fmla="*/ 0 h 4412700"/>
              <a:gd name="connsiteX3" fmla="*/ 4204800 w 4204800"/>
              <a:gd name="connsiteY3" fmla="*/ 84012 h 4412700"/>
              <a:gd name="connsiteX4" fmla="*/ 4204800 w 4204800"/>
              <a:gd name="connsiteY4" fmla="*/ 4328688 h 4412700"/>
              <a:gd name="connsiteX5" fmla="*/ 4120788 w 4204800"/>
              <a:gd name="connsiteY5" fmla="*/ 4412700 h 4412700"/>
              <a:gd name="connsiteX6" fmla="*/ 84012 w 4204800"/>
              <a:gd name="connsiteY6" fmla="*/ 4412700 h 4412700"/>
              <a:gd name="connsiteX7" fmla="*/ 0 w 4204800"/>
              <a:gd name="connsiteY7" fmla="*/ 4328688 h 4412700"/>
              <a:gd name="connsiteX8" fmla="*/ 0 w 4204800"/>
              <a:gd name="connsiteY8" fmla="*/ 84012 h 4412700"/>
              <a:gd name="connsiteX0" fmla="*/ 4120788 w 4296240"/>
              <a:gd name="connsiteY0" fmla="*/ 4412700 h 4420128"/>
              <a:gd name="connsiteX1" fmla="*/ 84012 w 4296240"/>
              <a:gd name="connsiteY1" fmla="*/ 4412700 h 4420128"/>
              <a:gd name="connsiteX2" fmla="*/ 0 w 4296240"/>
              <a:gd name="connsiteY2" fmla="*/ 4328688 h 4420128"/>
              <a:gd name="connsiteX3" fmla="*/ 0 w 4296240"/>
              <a:gd name="connsiteY3" fmla="*/ 84012 h 4420128"/>
              <a:gd name="connsiteX4" fmla="*/ 84012 w 4296240"/>
              <a:gd name="connsiteY4" fmla="*/ 0 h 4420128"/>
              <a:gd name="connsiteX5" fmla="*/ 4120788 w 4296240"/>
              <a:gd name="connsiteY5" fmla="*/ 0 h 4420128"/>
              <a:gd name="connsiteX6" fmla="*/ 4204800 w 4296240"/>
              <a:gd name="connsiteY6" fmla="*/ 84012 h 4420128"/>
              <a:gd name="connsiteX7" fmla="*/ 4296240 w 4296240"/>
              <a:gd name="connsiteY7" fmla="*/ 4420128 h 4420128"/>
              <a:gd name="connsiteX0" fmla="*/ 4120788 w 4296240"/>
              <a:gd name="connsiteY0" fmla="*/ 4412700 h 4420128"/>
              <a:gd name="connsiteX1" fmla="*/ 84012 w 4296240"/>
              <a:gd name="connsiteY1" fmla="*/ 4412700 h 4420128"/>
              <a:gd name="connsiteX2" fmla="*/ 0 w 4296240"/>
              <a:gd name="connsiteY2" fmla="*/ 4328688 h 4420128"/>
              <a:gd name="connsiteX3" fmla="*/ 0 w 4296240"/>
              <a:gd name="connsiteY3" fmla="*/ 84012 h 4420128"/>
              <a:gd name="connsiteX4" fmla="*/ 84012 w 4296240"/>
              <a:gd name="connsiteY4" fmla="*/ 0 h 4420128"/>
              <a:gd name="connsiteX5" fmla="*/ 4120788 w 4296240"/>
              <a:gd name="connsiteY5" fmla="*/ 0 h 4420128"/>
              <a:gd name="connsiteX6" fmla="*/ 4204800 w 4296240"/>
              <a:gd name="connsiteY6" fmla="*/ 84012 h 4420128"/>
              <a:gd name="connsiteX7" fmla="*/ 4296240 w 4296240"/>
              <a:gd name="connsiteY7" fmla="*/ 4420128 h 4420128"/>
              <a:gd name="connsiteX8" fmla="*/ 4120788 w 4296240"/>
              <a:gd name="connsiteY8" fmla="*/ 4412700 h 4420128"/>
              <a:gd name="connsiteX0" fmla="*/ 4296240 w 4296240"/>
              <a:gd name="connsiteY0" fmla="*/ 4420128 h 4420128"/>
              <a:gd name="connsiteX1" fmla="*/ 84012 w 4296240"/>
              <a:gd name="connsiteY1" fmla="*/ 4412700 h 4420128"/>
              <a:gd name="connsiteX2" fmla="*/ 0 w 4296240"/>
              <a:gd name="connsiteY2" fmla="*/ 4328688 h 4420128"/>
              <a:gd name="connsiteX3" fmla="*/ 0 w 4296240"/>
              <a:gd name="connsiteY3" fmla="*/ 84012 h 4420128"/>
              <a:gd name="connsiteX4" fmla="*/ 84012 w 4296240"/>
              <a:gd name="connsiteY4" fmla="*/ 0 h 4420128"/>
              <a:gd name="connsiteX5" fmla="*/ 4120788 w 4296240"/>
              <a:gd name="connsiteY5" fmla="*/ 0 h 4420128"/>
              <a:gd name="connsiteX6" fmla="*/ 4204800 w 4296240"/>
              <a:gd name="connsiteY6" fmla="*/ 84012 h 4420128"/>
              <a:gd name="connsiteX7" fmla="*/ 4296240 w 4296240"/>
              <a:gd name="connsiteY7" fmla="*/ 4420128 h 4420128"/>
              <a:gd name="connsiteX0" fmla="*/ 4226390 w 4226390"/>
              <a:gd name="connsiteY0" fmla="*/ 4416953 h 4416953"/>
              <a:gd name="connsiteX1" fmla="*/ 84012 w 4226390"/>
              <a:gd name="connsiteY1" fmla="*/ 4412700 h 4416953"/>
              <a:gd name="connsiteX2" fmla="*/ 0 w 4226390"/>
              <a:gd name="connsiteY2" fmla="*/ 4328688 h 4416953"/>
              <a:gd name="connsiteX3" fmla="*/ 0 w 4226390"/>
              <a:gd name="connsiteY3" fmla="*/ 84012 h 4416953"/>
              <a:gd name="connsiteX4" fmla="*/ 84012 w 4226390"/>
              <a:gd name="connsiteY4" fmla="*/ 0 h 4416953"/>
              <a:gd name="connsiteX5" fmla="*/ 4120788 w 4226390"/>
              <a:gd name="connsiteY5" fmla="*/ 0 h 4416953"/>
              <a:gd name="connsiteX6" fmla="*/ 4204800 w 4226390"/>
              <a:gd name="connsiteY6" fmla="*/ 84012 h 4416953"/>
              <a:gd name="connsiteX7" fmla="*/ 4226390 w 4226390"/>
              <a:gd name="connsiteY7" fmla="*/ 4416953 h 4416953"/>
              <a:gd name="connsiteX0" fmla="*/ 4204165 w 4204800"/>
              <a:gd name="connsiteY0" fmla="*/ 4416953 h 4416953"/>
              <a:gd name="connsiteX1" fmla="*/ 84012 w 4204800"/>
              <a:gd name="connsiteY1" fmla="*/ 4412700 h 4416953"/>
              <a:gd name="connsiteX2" fmla="*/ 0 w 4204800"/>
              <a:gd name="connsiteY2" fmla="*/ 4328688 h 4416953"/>
              <a:gd name="connsiteX3" fmla="*/ 0 w 4204800"/>
              <a:gd name="connsiteY3" fmla="*/ 84012 h 4416953"/>
              <a:gd name="connsiteX4" fmla="*/ 84012 w 4204800"/>
              <a:gd name="connsiteY4" fmla="*/ 0 h 4416953"/>
              <a:gd name="connsiteX5" fmla="*/ 4120788 w 4204800"/>
              <a:gd name="connsiteY5" fmla="*/ 0 h 4416953"/>
              <a:gd name="connsiteX6" fmla="*/ 4204800 w 4204800"/>
              <a:gd name="connsiteY6" fmla="*/ 84012 h 4416953"/>
              <a:gd name="connsiteX7" fmla="*/ 4204165 w 4204800"/>
              <a:gd name="connsiteY7" fmla="*/ 4416953 h 4416953"/>
              <a:gd name="connsiteX0" fmla="*/ 84012 w 4204800"/>
              <a:gd name="connsiteY0" fmla="*/ 0 h 4416953"/>
              <a:gd name="connsiteX1" fmla="*/ 4120788 w 4204800"/>
              <a:gd name="connsiteY1" fmla="*/ 0 h 4416953"/>
              <a:gd name="connsiteX2" fmla="*/ 4204800 w 4204800"/>
              <a:gd name="connsiteY2" fmla="*/ 84012 h 4416953"/>
              <a:gd name="connsiteX3" fmla="*/ 4204165 w 4204800"/>
              <a:gd name="connsiteY3" fmla="*/ 4416953 h 4416953"/>
              <a:gd name="connsiteX4" fmla="*/ 84012 w 4204800"/>
              <a:gd name="connsiteY4" fmla="*/ 4412700 h 4416953"/>
              <a:gd name="connsiteX5" fmla="*/ 0 w 4204800"/>
              <a:gd name="connsiteY5" fmla="*/ 4328688 h 4416953"/>
              <a:gd name="connsiteX6" fmla="*/ 91440 w 4204800"/>
              <a:gd name="connsiteY6" fmla="*/ 175452 h 4416953"/>
              <a:gd name="connsiteX0" fmla="*/ 84012 w 4204800"/>
              <a:gd name="connsiteY0" fmla="*/ 0 h 4416953"/>
              <a:gd name="connsiteX1" fmla="*/ 4120788 w 4204800"/>
              <a:gd name="connsiteY1" fmla="*/ 0 h 4416953"/>
              <a:gd name="connsiteX2" fmla="*/ 4204800 w 4204800"/>
              <a:gd name="connsiteY2" fmla="*/ 84012 h 4416953"/>
              <a:gd name="connsiteX3" fmla="*/ 4204165 w 4204800"/>
              <a:gd name="connsiteY3" fmla="*/ 4416953 h 4416953"/>
              <a:gd name="connsiteX4" fmla="*/ 84012 w 4204800"/>
              <a:gd name="connsiteY4" fmla="*/ 4412700 h 4416953"/>
              <a:gd name="connsiteX5" fmla="*/ 0 w 4204800"/>
              <a:gd name="connsiteY5" fmla="*/ 4328688 h 4416953"/>
              <a:gd name="connsiteX6" fmla="*/ 91440 w 4204800"/>
              <a:gd name="connsiteY6" fmla="*/ 175452 h 4416953"/>
              <a:gd name="connsiteX7" fmla="*/ 84012 w 4204800"/>
              <a:gd name="connsiteY7" fmla="*/ 0 h 4416953"/>
              <a:gd name="connsiteX0" fmla="*/ 84012 w 4204800"/>
              <a:gd name="connsiteY0" fmla="*/ 2348 h 4419301"/>
              <a:gd name="connsiteX1" fmla="*/ 4120788 w 4204800"/>
              <a:gd name="connsiteY1" fmla="*/ 2348 h 4419301"/>
              <a:gd name="connsiteX2" fmla="*/ 4204800 w 4204800"/>
              <a:gd name="connsiteY2" fmla="*/ 86360 h 4419301"/>
              <a:gd name="connsiteX3" fmla="*/ 4204165 w 4204800"/>
              <a:gd name="connsiteY3" fmla="*/ 4419301 h 4419301"/>
              <a:gd name="connsiteX4" fmla="*/ 84012 w 4204800"/>
              <a:gd name="connsiteY4" fmla="*/ 4415048 h 4419301"/>
              <a:gd name="connsiteX5" fmla="*/ 0 w 4204800"/>
              <a:gd name="connsiteY5" fmla="*/ 4331036 h 4419301"/>
              <a:gd name="connsiteX6" fmla="*/ 5715 w 4204800"/>
              <a:gd name="connsiteY6" fmla="*/ 0 h 4419301"/>
              <a:gd name="connsiteX7" fmla="*/ 84012 w 4204800"/>
              <a:gd name="connsiteY7" fmla="*/ 2348 h 4419301"/>
              <a:gd name="connsiteX0" fmla="*/ 84012 w 4204800"/>
              <a:gd name="connsiteY0" fmla="*/ 0 h 4416953"/>
              <a:gd name="connsiteX1" fmla="*/ 4120788 w 4204800"/>
              <a:gd name="connsiteY1" fmla="*/ 0 h 4416953"/>
              <a:gd name="connsiteX2" fmla="*/ 4204800 w 4204800"/>
              <a:gd name="connsiteY2" fmla="*/ 84012 h 4416953"/>
              <a:gd name="connsiteX3" fmla="*/ 4204165 w 4204800"/>
              <a:gd name="connsiteY3" fmla="*/ 4416953 h 4416953"/>
              <a:gd name="connsiteX4" fmla="*/ 84012 w 4204800"/>
              <a:gd name="connsiteY4" fmla="*/ 4412700 h 4416953"/>
              <a:gd name="connsiteX5" fmla="*/ 0 w 4204800"/>
              <a:gd name="connsiteY5" fmla="*/ 4328688 h 4416953"/>
              <a:gd name="connsiteX6" fmla="*/ 24765 w 4204800"/>
              <a:gd name="connsiteY6" fmla="*/ 80202 h 4416953"/>
              <a:gd name="connsiteX7" fmla="*/ 84012 w 4204800"/>
              <a:gd name="connsiteY7" fmla="*/ 0 h 4416953"/>
              <a:gd name="connsiteX0" fmla="*/ 84012 w 4204800"/>
              <a:gd name="connsiteY0" fmla="*/ 0 h 4416953"/>
              <a:gd name="connsiteX1" fmla="*/ 4120788 w 4204800"/>
              <a:gd name="connsiteY1" fmla="*/ 0 h 4416953"/>
              <a:gd name="connsiteX2" fmla="*/ 4204800 w 4204800"/>
              <a:gd name="connsiteY2" fmla="*/ 84012 h 4416953"/>
              <a:gd name="connsiteX3" fmla="*/ 4204165 w 4204800"/>
              <a:gd name="connsiteY3" fmla="*/ 4416953 h 4416953"/>
              <a:gd name="connsiteX4" fmla="*/ 84012 w 4204800"/>
              <a:gd name="connsiteY4" fmla="*/ 4412700 h 4416953"/>
              <a:gd name="connsiteX5" fmla="*/ 0 w 4204800"/>
              <a:gd name="connsiteY5" fmla="*/ 4328688 h 4416953"/>
              <a:gd name="connsiteX6" fmla="*/ 2540 w 4204800"/>
              <a:gd name="connsiteY6" fmla="*/ 827 h 4416953"/>
              <a:gd name="connsiteX7" fmla="*/ 84012 w 4204800"/>
              <a:gd name="connsiteY7" fmla="*/ 0 h 4416953"/>
              <a:gd name="connsiteX0" fmla="*/ 2540 w 4204800"/>
              <a:gd name="connsiteY0" fmla="*/ 827 h 4416953"/>
              <a:gd name="connsiteX1" fmla="*/ 4120788 w 4204800"/>
              <a:gd name="connsiteY1" fmla="*/ 0 h 4416953"/>
              <a:gd name="connsiteX2" fmla="*/ 4204800 w 4204800"/>
              <a:gd name="connsiteY2" fmla="*/ 84012 h 4416953"/>
              <a:gd name="connsiteX3" fmla="*/ 4204165 w 4204800"/>
              <a:gd name="connsiteY3" fmla="*/ 4416953 h 4416953"/>
              <a:gd name="connsiteX4" fmla="*/ 84012 w 4204800"/>
              <a:gd name="connsiteY4" fmla="*/ 4412700 h 4416953"/>
              <a:gd name="connsiteX5" fmla="*/ 0 w 4204800"/>
              <a:gd name="connsiteY5" fmla="*/ 4328688 h 4416953"/>
              <a:gd name="connsiteX6" fmla="*/ 2540 w 4204800"/>
              <a:gd name="connsiteY6" fmla="*/ 827 h 4416953"/>
              <a:gd name="connsiteX0" fmla="*/ 2540 w 4204800"/>
              <a:gd name="connsiteY0" fmla="*/ 827 h 4416953"/>
              <a:gd name="connsiteX1" fmla="*/ 4120788 w 4204800"/>
              <a:gd name="connsiteY1" fmla="*/ 0 h 4416953"/>
              <a:gd name="connsiteX2" fmla="*/ 4204800 w 4204800"/>
              <a:gd name="connsiteY2" fmla="*/ 84012 h 4416953"/>
              <a:gd name="connsiteX3" fmla="*/ 4204165 w 4204800"/>
              <a:gd name="connsiteY3" fmla="*/ 4416953 h 4416953"/>
              <a:gd name="connsiteX4" fmla="*/ 84012 w 4204800"/>
              <a:gd name="connsiteY4" fmla="*/ 4412700 h 4416953"/>
              <a:gd name="connsiteX5" fmla="*/ 0 w 4204800"/>
              <a:gd name="connsiteY5" fmla="*/ 4328688 h 4416953"/>
              <a:gd name="connsiteX6" fmla="*/ 2540 w 4204800"/>
              <a:gd name="connsiteY6" fmla="*/ 827 h 4416953"/>
              <a:gd name="connsiteX0" fmla="*/ 0 w 4205435"/>
              <a:gd name="connsiteY0" fmla="*/ 827 h 4416953"/>
              <a:gd name="connsiteX1" fmla="*/ 4121423 w 4205435"/>
              <a:gd name="connsiteY1" fmla="*/ 0 h 4416953"/>
              <a:gd name="connsiteX2" fmla="*/ 4205435 w 4205435"/>
              <a:gd name="connsiteY2" fmla="*/ 84012 h 4416953"/>
              <a:gd name="connsiteX3" fmla="*/ 4204800 w 4205435"/>
              <a:gd name="connsiteY3" fmla="*/ 4416953 h 4416953"/>
              <a:gd name="connsiteX4" fmla="*/ 84647 w 4205435"/>
              <a:gd name="connsiteY4" fmla="*/ 4412700 h 4416953"/>
              <a:gd name="connsiteX5" fmla="*/ 635 w 4205435"/>
              <a:gd name="connsiteY5" fmla="*/ 4328688 h 4416953"/>
              <a:gd name="connsiteX6" fmla="*/ 0 w 4205435"/>
              <a:gd name="connsiteY6" fmla="*/ 827 h 4416953"/>
              <a:gd name="connsiteX0" fmla="*/ 0 w 4205435"/>
              <a:gd name="connsiteY0" fmla="*/ 827 h 4416953"/>
              <a:gd name="connsiteX1" fmla="*/ 4121423 w 4205435"/>
              <a:gd name="connsiteY1" fmla="*/ 0 h 4416953"/>
              <a:gd name="connsiteX2" fmla="*/ 4205435 w 4205435"/>
              <a:gd name="connsiteY2" fmla="*/ 84012 h 4416953"/>
              <a:gd name="connsiteX3" fmla="*/ 4204800 w 4205435"/>
              <a:gd name="connsiteY3" fmla="*/ 4416953 h 4416953"/>
              <a:gd name="connsiteX4" fmla="*/ 84647 w 4205435"/>
              <a:gd name="connsiteY4" fmla="*/ 4412700 h 4416953"/>
              <a:gd name="connsiteX5" fmla="*/ 635 w 4205435"/>
              <a:gd name="connsiteY5" fmla="*/ 4328688 h 4416953"/>
              <a:gd name="connsiteX6" fmla="*/ 0 w 4205435"/>
              <a:gd name="connsiteY6" fmla="*/ 827 h 4416953"/>
              <a:gd name="connsiteX0" fmla="*/ 635 w 4205435"/>
              <a:gd name="connsiteY0" fmla="*/ 4328688 h 4504140"/>
              <a:gd name="connsiteX1" fmla="*/ 0 w 4205435"/>
              <a:gd name="connsiteY1" fmla="*/ 827 h 4504140"/>
              <a:gd name="connsiteX2" fmla="*/ 4121423 w 4205435"/>
              <a:gd name="connsiteY2" fmla="*/ 0 h 4504140"/>
              <a:gd name="connsiteX3" fmla="*/ 4205435 w 4205435"/>
              <a:gd name="connsiteY3" fmla="*/ 84012 h 4504140"/>
              <a:gd name="connsiteX4" fmla="*/ 4204800 w 4205435"/>
              <a:gd name="connsiteY4" fmla="*/ 4416953 h 4504140"/>
              <a:gd name="connsiteX5" fmla="*/ 176087 w 4205435"/>
              <a:gd name="connsiteY5" fmla="*/ 4504140 h 4504140"/>
              <a:gd name="connsiteX0" fmla="*/ 635 w 4205435"/>
              <a:gd name="connsiteY0" fmla="*/ 4328688 h 4504140"/>
              <a:gd name="connsiteX1" fmla="*/ 0 w 4205435"/>
              <a:gd name="connsiteY1" fmla="*/ 827 h 4504140"/>
              <a:gd name="connsiteX2" fmla="*/ 4121423 w 4205435"/>
              <a:gd name="connsiteY2" fmla="*/ 0 h 4504140"/>
              <a:gd name="connsiteX3" fmla="*/ 4205435 w 4205435"/>
              <a:gd name="connsiteY3" fmla="*/ 84012 h 4504140"/>
              <a:gd name="connsiteX4" fmla="*/ 4204800 w 4205435"/>
              <a:gd name="connsiteY4" fmla="*/ 4416953 h 4504140"/>
              <a:gd name="connsiteX5" fmla="*/ 176087 w 4205435"/>
              <a:gd name="connsiteY5" fmla="*/ 4504140 h 4504140"/>
              <a:gd name="connsiteX6" fmla="*/ 635 w 4205435"/>
              <a:gd name="connsiteY6" fmla="*/ 4328688 h 4504140"/>
              <a:gd name="connsiteX0" fmla="*/ 635 w 4205435"/>
              <a:gd name="connsiteY0" fmla="*/ 4328688 h 4416953"/>
              <a:gd name="connsiteX1" fmla="*/ 0 w 4205435"/>
              <a:gd name="connsiteY1" fmla="*/ 827 h 4416953"/>
              <a:gd name="connsiteX2" fmla="*/ 4121423 w 4205435"/>
              <a:gd name="connsiteY2" fmla="*/ 0 h 4416953"/>
              <a:gd name="connsiteX3" fmla="*/ 4205435 w 4205435"/>
              <a:gd name="connsiteY3" fmla="*/ 84012 h 4416953"/>
              <a:gd name="connsiteX4" fmla="*/ 4204800 w 4205435"/>
              <a:gd name="connsiteY4" fmla="*/ 4416953 h 4416953"/>
              <a:gd name="connsiteX5" fmla="*/ 1462 w 4205435"/>
              <a:gd name="connsiteY5" fmla="*/ 4408890 h 4416953"/>
              <a:gd name="connsiteX6" fmla="*/ 635 w 4205435"/>
              <a:gd name="connsiteY6" fmla="*/ 4328688 h 4416953"/>
              <a:gd name="connsiteX0" fmla="*/ 635 w 4205435"/>
              <a:gd name="connsiteY0" fmla="*/ 4328688 h 4416953"/>
              <a:gd name="connsiteX1" fmla="*/ 0 w 4205435"/>
              <a:gd name="connsiteY1" fmla="*/ 827 h 4416953"/>
              <a:gd name="connsiteX2" fmla="*/ 4121423 w 4205435"/>
              <a:gd name="connsiteY2" fmla="*/ 0 h 4416953"/>
              <a:gd name="connsiteX3" fmla="*/ 4205435 w 4205435"/>
              <a:gd name="connsiteY3" fmla="*/ 84012 h 4416953"/>
              <a:gd name="connsiteX4" fmla="*/ 4204800 w 4205435"/>
              <a:gd name="connsiteY4" fmla="*/ 4416953 h 4416953"/>
              <a:gd name="connsiteX5" fmla="*/ 4637 w 4205435"/>
              <a:gd name="connsiteY5" fmla="*/ 4415240 h 4416953"/>
              <a:gd name="connsiteX6" fmla="*/ 635 w 4205435"/>
              <a:gd name="connsiteY6" fmla="*/ 4328688 h 4416953"/>
              <a:gd name="connsiteX0" fmla="*/ 100773 w 4305573"/>
              <a:gd name="connsiteY0" fmla="*/ 4328688 h 4416953"/>
              <a:gd name="connsiteX1" fmla="*/ 100138 w 4305573"/>
              <a:gd name="connsiteY1" fmla="*/ 827 h 4416953"/>
              <a:gd name="connsiteX2" fmla="*/ 4221561 w 4305573"/>
              <a:gd name="connsiteY2" fmla="*/ 0 h 4416953"/>
              <a:gd name="connsiteX3" fmla="*/ 4305573 w 4305573"/>
              <a:gd name="connsiteY3" fmla="*/ 84012 h 4416953"/>
              <a:gd name="connsiteX4" fmla="*/ 4304938 w 4305573"/>
              <a:gd name="connsiteY4" fmla="*/ 4416953 h 4416953"/>
              <a:gd name="connsiteX5" fmla="*/ 0 w 4305573"/>
              <a:gd name="connsiteY5" fmla="*/ 4415240 h 4416953"/>
              <a:gd name="connsiteX6" fmla="*/ 100773 w 4305573"/>
              <a:gd name="connsiteY6" fmla="*/ 4328688 h 4416953"/>
              <a:gd name="connsiteX0" fmla="*/ 2367 w 4207167"/>
              <a:gd name="connsiteY0" fmla="*/ 4328688 h 4416953"/>
              <a:gd name="connsiteX1" fmla="*/ 1732 w 4207167"/>
              <a:gd name="connsiteY1" fmla="*/ 827 h 4416953"/>
              <a:gd name="connsiteX2" fmla="*/ 4123155 w 4207167"/>
              <a:gd name="connsiteY2" fmla="*/ 0 h 4416953"/>
              <a:gd name="connsiteX3" fmla="*/ 4207167 w 4207167"/>
              <a:gd name="connsiteY3" fmla="*/ 84012 h 4416953"/>
              <a:gd name="connsiteX4" fmla="*/ 4206532 w 4207167"/>
              <a:gd name="connsiteY4" fmla="*/ 4416953 h 4416953"/>
              <a:gd name="connsiteX5" fmla="*/ 19 w 4207167"/>
              <a:gd name="connsiteY5" fmla="*/ 4415240 h 4416953"/>
              <a:gd name="connsiteX6" fmla="*/ 2367 w 4207167"/>
              <a:gd name="connsiteY6" fmla="*/ 4328688 h 4416953"/>
              <a:gd name="connsiteX0" fmla="*/ 2367 w 4207167"/>
              <a:gd name="connsiteY0" fmla="*/ 4328688 h 4418415"/>
              <a:gd name="connsiteX1" fmla="*/ 1732 w 4207167"/>
              <a:gd name="connsiteY1" fmla="*/ 827 h 4418415"/>
              <a:gd name="connsiteX2" fmla="*/ 4123155 w 4207167"/>
              <a:gd name="connsiteY2" fmla="*/ 0 h 4418415"/>
              <a:gd name="connsiteX3" fmla="*/ 4207167 w 4207167"/>
              <a:gd name="connsiteY3" fmla="*/ 84012 h 4418415"/>
              <a:gd name="connsiteX4" fmla="*/ 4206532 w 4207167"/>
              <a:gd name="connsiteY4" fmla="*/ 4416953 h 4418415"/>
              <a:gd name="connsiteX5" fmla="*/ 19 w 4207167"/>
              <a:gd name="connsiteY5" fmla="*/ 4418415 h 4418415"/>
              <a:gd name="connsiteX6" fmla="*/ 2367 w 4207167"/>
              <a:gd name="connsiteY6" fmla="*/ 4328688 h 4418415"/>
              <a:gd name="connsiteX0" fmla="*/ 635 w 4205435"/>
              <a:gd name="connsiteY0" fmla="*/ 4328688 h 4497790"/>
              <a:gd name="connsiteX1" fmla="*/ 0 w 4205435"/>
              <a:gd name="connsiteY1" fmla="*/ 827 h 4497790"/>
              <a:gd name="connsiteX2" fmla="*/ 4121423 w 4205435"/>
              <a:gd name="connsiteY2" fmla="*/ 0 h 4497790"/>
              <a:gd name="connsiteX3" fmla="*/ 4205435 w 4205435"/>
              <a:gd name="connsiteY3" fmla="*/ 84012 h 4497790"/>
              <a:gd name="connsiteX4" fmla="*/ 4204800 w 4205435"/>
              <a:gd name="connsiteY4" fmla="*/ 4416953 h 4497790"/>
              <a:gd name="connsiteX5" fmla="*/ 10987 w 4205435"/>
              <a:gd name="connsiteY5" fmla="*/ 4497790 h 4497790"/>
              <a:gd name="connsiteX6" fmla="*/ 635 w 4205435"/>
              <a:gd name="connsiteY6" fmla="*/ 4328688 h 4497790"/>
              <a:gd name="connsiteX0" fmla="*/ 635 w 4205435"/>
              <a:gd name="connsiteY0" fmla="*/ 4328688 h 4416953"/>
              <a:gd name="connsiteX1" fmla="*/ 0 w 4205435"/>
              <a:gd name="connsiteY1" fmla="*/ 827 h 4416953"/>
              <a:gd name="connsiteX2" fmla="*/ 4121423 w 4205435"/>
              <a:gd name="connsiteY2" fmla="*/ 0 h 4416953"/>
              <a:gd name="connsiteX3" fmla="*/ 4205435 w 4205435"/>
              <a:gd name="connsiteY3" fmla="*/ 84012 h 4416953"/>
              <a:gd name="connsiteX4" fmla="*/ 4204800 w 4205435"/>
              <a:gd name="connsiteY4" fmla="*/ 4416953 h 4416953"/>
              <a:gd name="connsiteX5" fmla="*/ 635 w 4205435"/>
              <a:gd name="connsiteY5" fmla="*/ 4328688 h 4416953"/>
              <a:gd name="connsiteX0" fmla="*/ 0 w 4249250"/>
              <a:gd name="connsiteY0" fmla="*/ 4452513 h 4452513"/>
              <a:gd name="connsiteX1" fmla="*/ 43815 w 4249250"/>
              <a:gd name="connsiteY1" fmla="*/ 827 h 4452513"/>
              <a:gd name="connsiteX2" fmla="*/ 4165238 w 4249250"/>
              <a:gd name="connsiteY2" fmla="*/ 0 h 4452513"/>
              <a:gd name="connsiteX3" fmla="*/ 4249250 w 4249250"/>
              <a:gd name="connsiteY3" fmla="*/ 84012 h 4452513"/>
              <a:gd name="connsiteX4" fmla="*/ 4248615 w 4249250"/>
              <a:gd name="connsiteY4" fmla="*/ 4416953 h 4452513"/>
              <a:gd name="connsiteX5" fmla="*/ 0 w 4249250"/>
              <a:gd name="connsiteY5" fmla="*/ 4452513 h 4452513"/>
              <a:gd name="connsiteX0" fmla="*/ 0 w 4207975"/>
              <a:gd name="connsiteY0" fmla="*/ 4414413 h 4416953"/>
              <a:gd name="connsiteX1" fmla="*/ 2540 w 4207975"/>
              <a:gd name="connsiteY1" fmla="*/ 827 h 4416953"/>
              <a:gd name="connsiteX2" fmla="*/ 4123963 w 4207975"/>
              <a:gd name="connsiteY2" fmla="*/ 0 h 4416953"/>
              <a:gd name="connsiteX3" fmla="*/ 4207975 w 4207975"/>
              <a:gd name="connsiteY3" fmla="*/ 84012 h 4416953"/>
              <a:gd name="connsiteX4" fmla="*/ 4207340 w 4207975"/>
              <a:gd name="connsiteY4" fmla="*/ 4416953 h 4416953"/>
              <a:gd name="connsiteX5" fmla="*/ 0 w 4207975"/>
              <a:gd name="connsiteY5" fmla="*/ 4414413 h 4416953"/>
              <a:gd name="connsiteX0" fmla="*/ 0 w 4207975"/>
              <a:gd name="connsiteY0" fmla="*/ 4417588 h 4417588"/>
              <a:gd name="connsiteX1" fmla="*/ 2540 w 4207975"/>
              <a:gd name="connsiteY1" fmla="*/ 827 h 4417588"/>
              <a:gd name="connsiteX2" fmla="*/ 4123963 w 4207975"/>
              <a:gd name="connsiteY2" fmla="*/ 0 h 4417588"/>
              <a:gd name="connsiteX3" fmla="*/ 4207975 w 4207975"/>
              <a:gd name="connsiteY3" fmla="*/ 84012 h 4417588"/>
              <a:gd name="connsiteX4" fmla="*/ 4207340 w 4207975"/>
              <a:gd name="connsiteY4" fmla="*/ 4416953 h 4417588"/>
              <a:gd name="connsiteX5" fmla="*/ 0 w 4207975"/>
              <a:gd name="connsiteY5" fmla="*/ 4417588 h 4417588"/>
              <a:gd name="connsiteX0" fmla="*/ 1481153 w 4205435"/>
              <a:gd name="connsiteY0" fmla="*/ 4417588 h 4417588"/>
              <a:gd name="connsiteX1" fmla="*/ 0 w 4205435"/>
              <a:gd name="connsiteY1" fmla="*/ 827 h 4417588"/>
              <a:gd name="connsiteX2" fmla="*/ 4121423 w 4205435"/>
              <a:gd name="connsiteY2" fmla="*/ 0 h 4417588"/>
              <a:gd name="connsiteX3" fmla="*/ 4205435 w 4205435"/>
              <a:gd name="connsiteY3" fmla="*/ 84012 h 4417588"/>
              <a:gd name="connsiteX4" fmla="*/ 4204800 w 4205435"/>
              <a:gd name="connsiteY4" fmla="*/ 4416953 h 4417588"/>
              <a:gd name="connsiteX5" fmla="*/ 1481153 w 4205435"/>
              <a:gd name="connsiteY5" fmla="*/ 4417588 h 4417588"/>
              <a:gd name="connsiteX0" fmla="*/ 1846 w 2726128"/>
              <a:gd name="connsiteY0" fmla="*/ 4417588 h 4417588"/>
              <a:gd name="connsiteX1" fmla="*/ 0 w 2726128"/>
              <a:gd name="connsiteY1" fmla="*/ 827 h 4417588"/>
              <a:gd name="connsiteX2" fmla="*/ 2642116 w 2726128"/>
              <a:gd name="connsiteY2" fmla="*/ 0 h 4417588"/>
              <a:gd name="connsiteX3" fmla="*/ 2726128 w 2726128"/>
              <a:gd name="connsiteY3" fmla="*/ 84012 h 4417588"/>
              <a:gd name="connsiteX4" fmla="*/ 2725493 w 2726128"/>
              <a:gd name="connsiteY4" fmla="*/ 4416953 h 4417588"/>
              <a:gd name="connsiteX5" fmla="*/ 1846 w 2726128"/>
              <a:gd name="connsiteY5" fmla="*/ 4417588 h 4417588"/>
              <a:gd name="connsiteX0" fmla="*/ 1846 w 2726128"/>
              <a:gd name="connsiteY0" fmla="*/ 4421522 h 4421522"/>
              <a:gd name="connsiteX1" fmla="*/ 0 w 2726128"/>
              <a:gd name="connsiteY1" fmla="*/ 0 h 4421522"/>
              <a:gd name="connsiteX2" fmla="*/ 2642116 w 2726128"/>
              <a:gd name="connsiteY2" fmla="*/ 3934 h 4421522"/>
              <a:gd name="connsiteX3" fmla="*/ 2726128 w 2726128"/>
              <a:gd name="connsiteY3" fmla="*/ 87946 h 4421522"/>
              <a:gd name="connsiteX4" fmla="*/ 2725493 w 2726128"/>
              <a:gd name="connsiteY4" fmla="*/ 4420887 h 4421522"/>
              <a:gd name="connsiteX5" fmla="*/ 1846 w 2726128"/>
              <a:gd name="connsiteY5" fmla="*/ 4421522 h 4421522"/>
              <a:gd name="connsiteX0" fmla="*/ 1846 w 2726128"/>
              <a:gd name="connsiteY0" fmla="*/ 4421522 h 4421522"/>
              <a:gd name="connsiteX1" fmla="*/ 0 w 2726128"/>
              <a:gd name="connsiteY1" fmla="*/ 0 h 4421522"/>
              <a:gd name="connsiteX2" fmla="*/ 2642116 w 2726128"/>
              <a:gd name="connsiteY2" fmla="*/ 3934 h 4421522"/>
              <a:gd name="connsiteX3" fmla="*/ 2726128 w 2726128"/>
              <a:gd name="connsiteY3" fmla="*/ 87946 h 4421522"/>
              <a:gd name="connsiteX4" fmla="*/ 2725493 w 2726128"/>
              <a:gd name="connsiteY4" fmla="*/ 4420887 h 4421522"/>
              <a:gd name="connsiteX5" fmla="*/ 1846 w 2726128"/>
              <a:gd name="connsiteY5" fmla="*/ 4421522 h 4421522"/>
              <a:gd name="connsiteX0" fmla="*/ 1846 w 2726128"/>
              <a:gd name="connsiteY0" fmla="*/ 4421522 h 4421522"/>
              <a:gd name="connsiteX1" fmla="*/ 0 w 2726128"/>
              <a:gd name="connsiteY1" fmla="*/ 0 h 4421522"/>
              <a:gd name="connsiteX2" fmla="*/ 2642116 w 2726128"/>
              <a:gd name="connsiteY2" fmla="*/ 3934 h 4421522"/>
              <a:gd name="connsiteX3" fmla="*/ 2726128 w 2726128"/>
              <a:gd name="connsiteY3" fmla="*/ 87946 h 4421522"/>
              <a:gd name="connsiteX4" fmla="*/ 2725493 w 2726128"/>
              <a:gd name="connsiteY4" fmla="*/ 4420887 h 4421522"/>
              <a:gd name="connsiteX5" fmla="*/ 1846 w 2726128"/>
              <a:gd name="connsiteY5" fmla="*/ 4421522 h 4421522"/>
              <a:gd name="connsiteX0" fmla="*/ 1846 w 2726128"/>
              <a:gd name="connsiteY0" fmla="*/ 4426283 h 4426283"/>
              <a:gd name="connsiteX1" fmla="*/ 0 w 2726128"/>
              <a:gd name="connsiteY1" fmla="*/ 0 h 4426283"/>
              <a:gd name="connsiteX2" fmla="*/ 2642116 w 2726128"/>
              <a:gd name="connsiteY2" fmla="*/ 8695 h 4426283"/>
              <a:gd name="connsiteX3" fmla="*/ 2726128 w 2726128"/>
              <a:gd name="connsiteY3" fmla="*/ 92707 h 4426283"/>
              <a:gd name="connsiteX4" fmla="*/ 2725493 w 2726128"/>
              <a:gd name="connsiteY4" fmla="*/ 4425648 h 4426283"/>
              <a:gd name="connsiteX5" fmla="*/ 1846 w 2726128"/>
              <a:gd name="connsiteY5" fmla="*/ 4426283 h 4426283"/>
              <a:gd name="connsiteX0" fmla="*/ 1846 w 2726128"/>
              <a:gd name="connsiteY0" fmla="*/ 4421523 h 4421523"/>
              <a:gd name="connsiteX1" fmla="*/ 0 w 2726128"/>
              <a:gd name="connsiteY1" fmla="*/ 0 h 4421523"/>
              <a:gd name="connsiteX2" fmla="*/ 2642116 w 2726128"/>
              <a:gd name="connsiteY2" fmla="*/ 3935 h 4421523"/>
              <a:gd name="connsiteX3" fmla="*/ 2726128 w 2726128"/>
              <a:gd name="connsiteY3" fmla="*/ 87947 h 4421523"/>
              <a:gd name="connsiteX4" fmla="*/ 2725493 w 2726128"/>
              <a:gd name="connsiteY4" fmla="*/ 4420888 h 4421523"/>
              <a:gd name="connsiteX5" fmla="*/ 1846 w 2726128"/>
              <a:gd name="connsiteY5" fmla="*/ 4421523 h 4421523"/>
              <a:gd name="connsiteX0" fmla="*/ 1846 w 2726128"/>
              <a:gd name="connsiteY0" fmla="*/ 4417588 h 4417588"/>
              <a:gd name="connsiteX1" fmla="*/ 0 w 2726128"/>
              <a:gd name="connsiteY1" fmla="*/ 2720 h 4417588"/>
              <a:gd name="connsiteX2" fmla="*/ 2642116 w 2726128"/>
              <a:gd name="connsiteY2" fmla="*/ 0 h 4417588"/>
              <a:gd name="connsiteX3" fmla="*/ 2726128 w 2726128"/>
              <a:gd name="connsiteY3" fmla="*/ 84012 h 4417588"/>
              <a:gd name="connsiteX4" fmla="*/ 2725493 w 2726128"/>
              <a:gd name="connsiteY4" fmla="*/ 4416953 h 4417588"/>
              <a:gd name="connsiteX5" fmla="*/ 1846 w 2726128"/>
              <a:gd name="connsiteY5" fmla="*/ 4417588 h 4417588"/>
              <a:gd name="connsiteX0" fmla="*/ 5021 w 2729303"/>
              <a:gd name="connsiteY0" fmla="*/ 4418045 h 4418045"/>
              <a:gd name="connsiteX1" fmla="*/ 0 w 2729303"/>
              <a:gd name="connsiteY1" fmla="*/ 0 h 4418045"/>
              <a:gd name="connsiteX2" fmla="*/ 2645291 w 2729303"/>
              <a:gd name="connsiteY2" fmla="*/ 457 h 4418045"/>
              <a:gd name="connsiteX3" fmla="*/ 2729303 w 2729303"/>
              <a:gd name="connsiteY3" fmla="*/ 84469 h 4418045"/>
              <a:gd name="connsiteX4" fmla="*/ 2728668 w 2729303"/>
              <a:gd name="connsiteY4" fmla="*/ 4417410 h 4418045"/>
              <a:gd name="connsiteX5" fmla="*/ 5021 w 2729303"/>
              <a:gd name="connsiteY5" fmla="*/ 4418045 h 4418045"/>
              <a:gd name="connsiteX0" fmla="*/ 0 w 4208346"/>
              <a:gd name="connsiteY0" fmla="*/ 4418045 h 4418045"/>
              <a:gd name="connsiteX1" fmla="*/ 1479043 w 4208346"/>
              <a:gd name="connsiteY1" fmla="*/ 0 h 4418045"/>
              <a:gd name="connsiteX2" fmla="*/ 4124334 w 4208346"/>
              <a:gd name="connsiteY2" fmla="*/ 457 h 4418045"/>
              <a:gd name="connsiteX3" fmla="*/ 4208346 w 4208346"/>
              <a:gd name="connsiteY3" fmla="*/ 84469 h 4418045"/>
              <a:gd name="connsiteX4" fmla="*/ 4207711 w 4208346"/>
              <a:gd name="connsiteY4" fmla="*/ 4417410 h 4418045"/>
              <a:gd name="connsiteX5" fmla="*/ 0 w 4208346"/>
              <a:gd name="connsiteY5" fmla="*/ 4418045 h 4418045"/>
              <a:gd name="connsiteX0" fmla="*/ 264 w 4208610"/>
              <a:gd name="connsiteY0" fmla="*/ 4418045 h 4418045"/>
              <a:gd name="connsiteX1" fmla="*/ 0 w 4208610"/>
              <a:gd name="connsiteY1" fmla="*/ 0 h 4418045"/>
              <a:gd name="connsiteX2" fmla="*/ 4124598 w 4208610"/>
              <a:gd name="connsiteY2" fmla="*/ 457 h 4418045"/>
              <a:gd name="connsiteX3" fmla="*/ 4208610 w 4208610"/>
              <a:gd name="connsiteY3" fmla="*/ 84469 h 4418045"/>
              <a:gd name="connsiteX4" fmla="*/ 4207975 w 4208610"/>
              <a:gd name="connsiteY4" fmla="*/ 4417410 h 4418045"/>
              <a:gd name="connsiteX5" fmla="*/ 264 w 4208610"/>
              <a:gd name="connsiteY5" fmla="*/ 4418045 h 4418045"/>
              <a:gd name="connsiteX0" fmla="*/ 0 w 4265496"/>
              <a:gd name="connsiteY0" fmla="*/ 4418045 h 4418045"/>
              <a:gd name="connsiteX1" fmla="*/ 56886 w 4265496"/>
              <a:gd name="connsiteY1" fmla="*/ 0 h 4418045"/>
              <a:gd name="connsiteX2" fmla="*/ 4181484 w 4265496"/>
              <a:gd name="connsiteY2" fmla="*/ 457 h 4418045"/>
              <a:gd name="connsiteX3" fmla="*/ 4265496 w 4265496"/>
              <a:gd name="connsiteY3" fmla="*/ 84469 h 4418045"/>
              <a:gd name="connsiteX4" fmla="*/ 4264861 w 4265496"/>
              <a:gd name="connsiteY4" fmla="*/ 4417410 h 4418045"/>
              <a:gd name="connsiteX5" fmla="*/ 0 w 4265496"/>
              <a:gd name="connsiteY5" fmla="*/ 4418045 h 4418045"/>
              <a:gd name="connsiteX0" fmla="*/ 264 w 4265760"/>
              <a:gd name="connsiteY0" fmla="*/ 4418045 h 4418045"/>
              <a:gd name="connsiteX1" fmla="*/ 0 w 4265760"/>
              <a:gd name="connsiteY1" fmla="*/ 0 h 4418045"/>
              <a:gd name="connsiteX2" fmla="*/ 4181748 w 4265760"/>
              <a:gd name="connsiteY2" fmla="*/ 457 h 4418045"/>
              <a:gd name="connsiteX3" fmla="*/ 4265760 w 4265760"/>
              <a:gd name="connsiteY3" fmla="*/ 84469 h 4418045"/>
              <a:gd name="connsiteX4" fmla="*/ 4265125 w 4265760"/>
              <a:gd name="connsiteY4" fmla="*/ 4417410 h 4418045"/>
              <a:gd name="connsiteX5" fmla="*/ 264 w 4265760"/>
              <a:gd name="connsiteY5" fmla="*/ 4418045 h 4418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65760" h="4418045">
                <a:moveTo>
                  <a:pt x="264" y="4418045"/>
                </a:moveTo>
                <a:cubicBezTo>
                  <a:pt x="264" y="3003153"/>
                  <a:pt x="0" y="0"/>
                  <a:pt x="0" y="0"/>
                </a:cubicBezTo>
                <a:lnTo>
                  <a:pt x="4181748" y="457"/>
                </a:lnTo>
                <a:cubicBezTo>
                  <a:pt x="4228147" y="457"/>
                  <a:pt x="4265760" y="38070"/>
                  <a:pt x="4265760" y="84469"/>
                </a:cubicBezTo>
                <a:cubicBezTo>
                  <a:pt x="4265760" y="1499361"/>
                  <a:pt x="4265125" y="4417410"/>
                  <a:pt x="4265125" y="4417410"/>
                </a:cubicBezTo>
                <a:lnTo>
                  <a:pt x="264" y="4418045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Insert picture her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244800" y="245064"/>
            <a:ext cx="4265994" cy="4413335"/>
          </a:xfrm>
          <a:custGeom>
            <a:avLst/>
            <a:gdLst>
              <a:gd name="connsiteX0" fmla="*/ 0 w 4204800"/>
              <a:gd name="connsiteY0" fmla="*/ 84012 h 4412700"/>
              <a:gd name="connsiteX1" fmla="*/ 84012 w 4204800"/>
              <a:gd name="connsiteY1" fmla="*/ 0 h 4412700"/>
              <a:gd name="connsiteX2" fmla="*/ 4120788 w 4204800"/>
              <a:gd name="connsiteY2" fmla="*/ 0 h 4412700"/>
              <a:gd name="connsiteX3" fmla="*/ 4204800 w 4204800"/>
              <a:gd name="connsiteY3" fmla="*/ 84012 h 4412700"/>
              <a:gd name="connsiteX4" fmla="*/ 4204800 w 4204800"/>
              <a:gd name="connsiteY4" fmla="*/ 4328688 h 4412700"/>
              <a:gd name="connsiteX5" fmla="*/ 4120788 w 4204800"/>
              <a:gd name="connsiteY5" fmla="*/ 4412700 h 4412700"/>
              <a:gd name="connsiteX6" fmla="*/ 84012 w 4204800"/>
              <a:gd name="connsiteY6" fmla="*/ 4412700 h 4412700"/>
              <a:gd name="connsiteX7" fmla="*/ 0 w 4204800"/>
              <a:gd name="connsiteY7" fmla="*/ 4328688 h 4412700"/>
              <a:gd name="connsiteX8" fmla="*/ 0 w 4204800"/>
              <a:gd name="connsiteY8" fmla="*/ 84012 h 4412700"/>
              <a:gd name="connsiteX0" fmla="*/ 4120788 w 4296240"/>
              <a:gd name="connsiteY0" fmla="*/ 4412700 h 4420128"/>
              <a:gd name="connsiteX1" fmla="*/ 84012 w 4296240"/>
              <a:gd name="connsiteY1" fmla="*/ 4412700 h 4420128"/>
              <a:gd name="connsiteX2" fmla="*/ 0 w 4296240"/>
              <a:gd name="connsiteY2" fmla="*/ 4328688 h 4420128"/>
              <a:gd name="connsiteX3" fmla="*/ 0 w 4296240"/>
              <a:gd name="connsiteY3" fmla="*/ 84012 h 4420128"/>
              <a:gd name="connsiteX4" fmla="*/ 84012 w 4296240"/>
              <a:gd name="connsiteY4" fmla="*/ 0 h 4420128"/>
              <a:gd name="connsiteX5" fmla="*/ 4120788 w 4296240"/>
              <a:gd name="connsiteY5" fmla="*/ 0 h 4420128"/>
              <a:gd name="connsiteX6" fmla="*/ 4204800 w 4296240"/>
              <a:gd name="connsiteY6" fmla="*/ 84012 h 4420128"/>
              <a:gd name="connsiteX7" fmla="*/ 4296240 w 4296240"/>
              <a:gd name="connsiteY7" fmla="*/ 4420128 h 4420128"/>
              <a:gd name="connsiteX0" fmla="*/ 4120788 w 4296240"/>
              <a:gd name="connsiteY0" fmla="*/ 4412700 h 4420128"/>
              <a:gd name="connsiteX1" fmla="*/ 84012 w 4296240"/>
              <a:gd name="connsiteY1" fmla="*/ 4412700 h 4420128"/>
              <a:gd name="connsiteX2" fmla="*/ 0 w 4296240"/>
              <a:gd name="connsiteY2" fmla="*/ 4328688 h 4420128"/>
              <a:gd name="connsiteX3" fmla="*/ 0 w 4296240"/>
              <a:gd name="connsiteY3" fmla="*/ 84012 h 4420128"/>
              <a:gd name="connsiteX4" fmla="*/ 84012 w 4296240"/>
              <a:gd name="connsiteY4" fmla="*/ 0 h 4420128"/>
              <a:gd name="connsiteX5" fmla="*/ 4120788 w 4296240"/>
              <a:gd name="connsiteY5" fmla="*/ 0 h 4420128"/>
              <a:gd name="connsiteX6" fmla="*/ 4204800 w 4296240"/>
              <a:gd name="connsiteY6" fmla="*/ 84012 h 4420128"/>
              <a:gd name="connsiteX7" fmla="*/ 4296240 w 4296240"/>
              <a:gd name="connsiteY7" fmla="*/ 4420128 h 4420128"/>
              <a:gd name="connsiteX8" fmla="*/ 4120788 w 4296240"/>
              <a:gd name="connsiteY8" fmla="*/ 4412700 h 4420128"/>
              <a:gd name="connsiteX0" fmla="*/ 4296240 w 4296240"/>
              <a:gd name="connsiteY0" fmla="*/ 4420128 h 4420128"/>
              <a:gd name="connsiteX1" fmla="*/ 84012 w 4296240"/>
              <a:gd name="connsiteY1" fmla="*/ 4412700 h 4420128"/>
              <a:gd name="connsiteX2" fmla="*/ 0 w 4296240"/>
              <a:gd name="connsiteY2" fmla="*/ 4328688 h 4420128"/>
              <a:gd name="connsiteX3" fmla="*/ 0 w 4296240"/>
              <a:gd name="connsiteY3" fmla="*/ 84012 h 4420128"/>
              <a:gd name="connsiteX4" fmla="*/ 84012 w 4296240"/>
              <a:gd name="connsiteY4" fmla="*/ 0 h 4420128"/>
              <a:gd name="connsiteX5" fmla="*/ 4120788 w 4296240"/>
              <a:gd name="connsiteY5" fmla="*/ 0 h 4420128"/>
              <a:gd name="connsiteX6" fmla="*/ 4204800 w 4296240"/>
              <a:gd name="connsiteY6" fmla="*/ 84012 h 4420128"/>
              <a:gd name="connsiteX7" fmla="*/ 4296240 w 4296240"/>
              <a:gd name="connsiteY7" fmla="*/ 4420128 h 4420128"/>
              <a:gd name="connsiteX0" fmla="*/ 4206063 w 4206063"/>
              <a:gd name="connsiteY0" fmla="*/ 4416370 h 4416370"/>
              <a:gd name="connsiteX1" fmla="*/ 84012 w 4206063"/>
              <a:gd name="connsiteY1" fmla="*/ 4412700 h 4416370"/>
              <a:gd name="connsiteX2" fmla="*/ 0 w 4206063"/>
              <a:gd name="connsiteY2" fmla="*/ 4328688 h 4416370"/>
              <a:gd name="connsiteX3" fmla="*/ 0 w 4206063"/>
              <a:gd name="connsiteY3" fmla="*/ 84012 h 4416370"/>
              <a:gd name="connsiteX4" fmla="*/ 84012 w 4206063"/>
              <a:gd name="connsiteY4" fmla="*/ 0 h 4416370"/>
              <a:gd name="connsiteX5" fmla="*/ 4120788 w 4206063"/>
              <a:gd name="connsiteY5" fmla="*/ 0 h 4416370"/>
              <a:gd name="connsiteX6" fmla="*/ 4204800 w 4206063"/>
              <a:gd name="connsiteY6" fmla="*/ 84012 h 4416370"/>
              <a:gd name="connsiteX7" fmla="*/ 4206063 w 4206063"/>
              <a:gd name="connsiteY7" fmla="*/ 4416370 h 4416370"/>
              <a:gd name="connsiteX0" fmla="*/ 4206063 w 4206063"/>
              <a:gd name="connsiteY0" fmla="*/ 4416370 h 4416370"/>
              <a:gd name="connsiteX1" fmla="*/ 84012 w 4206063"/>
              <a:gd name="connsiteY1" fmla="*/ 4412700 h 4416370"/>
              <a:gd name="connsiteX2" fmla="*/ 0 w 4206063"/>
              <a:gd name="connsiteY2" fmla="*/ 4328688 h 4416370"/>
              <a:gd name="connsiteX3" fmla="*/ 0 w 4206063"/>
              <a:gd name="connsiteY3" fmla="*/ 84012 h 4416370"/>
              <a:gd name="connsiteX4" fmla="*/ 84012 w 4206063"/>
              <a:gd name="connsiteY4" fmla="*/ 0 h 4416370"/>
              <a:gd name="connsiteX5" fmla="*/ 4120788 w 4206063"/>
              <a:gd name="connsiteY5" fmla="*/ 0 h 4416370"/>
              <a:gd name="connsiteX6" fmla="*/ 4204800 w 4206063"/>
              <a:gd name="connsiteY6" fmla="*/ 84012 h 4416370"/>
              <a:gd name="connsiteX7" fmla="*/ 4206063 w 4206063"/>
              <a:gd name="connsiteY7" fmla="*/ 4416370 h 4416370"/>
              <a:gd name="connsiteX0" fmla="*/ 4100857 w 4204800"/>
              <a:gd name="connsiteY0" fmla="*/ 4299888 h 4412700"/>
              <a:gd name="connsiteX1" fmla="*/ 84012 w 4204800"/>
              <a:gd name="connsiteY1" fmla="*/ 4412700 h 4412700"/>
              <a:gd name="connsiteX2" fmla="*/ 0 w 4204800"/>
              <a:gd name="connsiteY2" fmla="*/ 4328688 h 4412700"/>
              <a:gd name="connsiteX3" fmla="*/ 0 w 4204800"/>
              <a:gd name="connsiteY3" fmla="*/ 84012 h 4412700"/>
              <a:gd name="connsiteX4" fmla="*/ 84012 w 4204800"/>
              <a:gd name="connsiteY4" fmla="*/ 0 h 4412700"/>
              <a:gd name="connsiteX5" fmla="*/ 4120788 w 4204800"/>
              <a:gd name="connsiteY5" fmla="*/ 0 h 4412700"/>
              <a:gd name="connsiteX6" fmla="*/ 4204800 w 4204800"/>
              <a:gd name="connsiteY6" fmla="*/ 84012 h 4412700"/>
              <a:gd name="connsiteX7" fmla="*/ 4100857 w 4204800"/>
              <a:gd name="connsiteY7" fmla="*/ 4299888 h 4412700"/>
              <a:gd name="connsiteX0" fmla="*/ 4206063 w 4206063"/>
              <a:gd name="connsiteY0" fmla="*/ 4416369 h 4416369"/>
              <a:gd name="connsiteX1" fmla="*/ 84012 w 4206063"/>
              <a:gd name="connsiteY1" fmla="*/ 4412700 h 4416369"/>
              <a:gd name="connsiteX2" fmla="*/ 0 w 4206063"/>
              <a:gd name="connsiteY2" fmla="*/ 4328688 h 4416369"/>
              <a:gd name="connsiteX3" fmla="*/ 0 w 4206063"/>
              <a:gd name="connsiteY3" fmla="*/ 84012 h 4416369"/>
              <a:gd name="connsiteX4" fmla="*/ 84012 w 4206063"/>
              <a:gd name="connsiteY4" fmla="*/ 0 h 4416369"/>
              <a:gd name="connsiteX5" fmla="*/ 4120788 w 4206063"/>
              <a:gd name="connsiteY5" fmla="*/ 0 h 4416369"/>
              <a:gd name="connsiteX6" fmla="*/ 4204800 w 4206063"/>
              <a:gd name="connsiteY6" fmla="*/ 84012 h 4416369"/>
              <a:gd name="connsiteX7" fmla="*/ 4206063 w 4206063"/>
              <a:gd name="connsiteY7" fmla="*/ 4416369 h 4416369"/>
              <a:gd name="connsiteX0" fmla="*/ 4209820 w 4209820"/>
              <a:gd name="connsiteY0" fmla="*/ 4416369 h 4416369"/>
              <a:gd name="connsiteX1" fmla="*/ 84012 w 4209820"/>
              <a:gd name="connsiteY1" fmla="*/ 4412700 h 4416369"/>
              <a:gd name="connsiteX2" fmla="*/ 0 w 4209820"/>
              <a:gd name="connsiteY2" fmla="*/ 4328688 h 4416369"/>
              <a:gd name="connsiteX3" fmla="*/ 0 w 4209820"/>
              <a:gd name="connsiteY3" fmla="*/ 84012 h 4416369"/>
              <a:gd name="connsiteX4" fmla="*/ 84012 w 4209820"/>
              <a:gd name="connsiteY4" fmla="*/ 0 h 4416369"/>
              <a:gd name="connsiteX5" fmla="*/ 4120788 w 4209820"/>
              <a:gd name="connsiteY5" fmla="*/ 0 h 4416369"/>
              <a:gd name="connsiteX6" fmla="*/ 4204800 w 4209820"/>
              <a:gd name="connsiteY6" fmla="*/ 84012 h 4416369"/>
              <a:gd name="connsiteX7" fmla="*/ 4209820 w 4209820"/>
              <a:gd name="connsiteY7" fmla="*/ 4416369 h 4416369"/>
              <a:gd name="connsiteX0" fmla="*/ 4206063 w 4206063"/>
              <a:gd name="connsiteY0" fmla="*/ 4416369 h 4416369"/>
              <a:gd name="connsiteX1" fmla="*/ 84012 w 4206063"/>
              <a:gd name="connsiteY1" fmla="*/ 4412700 h 4416369"/>
              <a:gd name="connsiteX2" fmla="*/ 0 w 4206063"/>
              <a:gd name="connsiteY2" fmla="*/ 4328688 h 4416369"/>
              <a:gd name="connsiteX3" fmla="*/ 0 w 4206063"/>
              <a:gd name="connsiteY3" fmla="*/ 84012 h 4416369"/>
              <a:gd name="connsiteX4" fmla="*/ 84012 w 4206063"/>
              <a:gd name="connsiteY4" fmla="*/ 0 h 4416369"/>
              <a:gd name="connsiteX5" fmla="*/ 4120788 w 4206063"/>
              <a:gd name="connsiteY5" fmla="*/ 0 h 4416369"/>
              <a:gd name="connsiteX6" fmla="*/ 4204800 w 4206063"/>
              <a:gd name="connsiteY6" fmla="*/ 84012 h 4416369"/>
              <a:gd name="connsiteX7" fmla="*/ 4206063 w 4206063"/>
              <a:gd name="connsiteY7" fmla="*/ 4416369 h 4416369"/>
              <a:gd name="connsiteX0" fmla="*/ 4036982 w 4204800"/>
              <a:gd name="connsiteY0" fmla="*/ 4247283 h 4412700"/>
              <a:gd name="connsiteX1" fmla="*/ 84012 w 4204800"/>
              <a:gd name="connsiteY1" fmla="*/ 4412700 h 4412700"/>
              <a:gd name="connsiteX2" fmla="*/ 0 w 4204800"/>
              <a:gd name="connsiteY2" fmla="*/ 4328688 h 4412700"/>
              <a:gd name="connsiteX3" fmla="*/ 0 w 4204800"/>
              <a:gd name="connsiteY3" fmla="*/ 84012 h 4412700"/>
              <a:gd name="connsiteX4" fmla="*/ 84012 w 4204800"/>
              <a:gd name="connsiteY4" fmla="*/ 0 h 4412700"/>
              <a:gd name="connsiteX5" fmla="*/ 4120788 w 4204800"/>
              <a:gd name="connsiteY5" fmla="*/ 0 h 4412700"/>
              <a:gd name="connsiteX6" fmla="*/ 4204800 w 4204800"/>
              <a:gd name="connsiteY6" fmla="*/ 84012 h 4412700"/>
              <a:gd name="connsiteX7" fmla="*/ 4036982 w 4204800"/>
              <a:gd name="connsiteY7" fmla="*/ 4247283 h 4412700"/>
              <a:gd name="connsiteX0" fmla="*/ 4206063 w 4206063"/>
              <a:gd name="connsiteY0" fmla="*/ 4412612 h 4412700"/>
              <a:gd name="connsiteX1" fmla="*/ 84012 w 4206063"/>
              <a:gd name="connsiteY1" fmla="*/ 4412700 h 4412700"/>
              <a:gd name="connsiteX2" fmla="*/ 0 w 4206063"/>
              <a:gd name="connsiteY2" fmla="*/ 4328688 h 4412700"/>
              <a:gd name="connsiteX3" fmla="*/ 0 w 4206063"/>
              <a:gd name="connsiteY3" fmla="*/ 84012 h 4412700"/>
              <a:gd name="connsiteX4" fmla="*/ 84012 w 4206063"/>
              <a:gd name="connsiteY4" fmla="*/ 0 h 4412700"/>
              <a:gd name="connsiteX5" fmla="*/ 4120788 w 4206063"/>
              <a:gd name="connsiteY5" fmla="*/ 0 h 4412700"/>
              <a:gd name="connsiteX6" fmla="*/ 4204800 w 4206063"/>
              <a:gd name="connsiteY6" fmla="*/ 84012 h 4412700"/>
              <a:gd name="connsiteX7" fmla="*/ 4206063 w 4206063"/>
              <a:gd name="connsiteY7" fmla="*/ 4412612 h 4412700"/>
              <a:gd name="connsiteX0" fmla="*/ 4204800 w 4212228"/>
              <a:gd name="connsiteY0" fmla="*/ 84012 h 4412700"/>
              <a:gd name="connsiteX1" fmla="*/ 4206063 w 4212228"/>
              <a:gd name="connsiteY1" fmla="*/ 4412612 h 4412700"/>
              <a:gd name="connsiteX2" fmla="*/ 84012 w 4212228"/>
              <a:gd name="connsiteY2" fmla="*/ 4412700 h 4412700"/>
              <a:gd name="connsiteX3" fmla="*/ 0 w 4212228"/>
              <a:gd name="connsiteY3" fmla="*/ 4328688 h 4412700"/>
              <a:gd name="connsiteX4" fmla="*/ 0 w 4212228"/>
              <a:gd name="connsiteY4" fmla="*/ 84012 h 4412700"/>
              <a:gd name="connsiteX5" fmla="*/ 84012 w 4212228"/>
              <a:gd name="connsiteY5" fmla="*/ 0 h 4412700"/>
              <a:gd name="connsiteX6" fmla="*/ 4212228 w 4212228"/>
              <a:gd name="connsiteY6" fmla="*/ 91440 h 4412700"/>
              <a:gd name="connsiteX0" fmla="*/ 4204800 w 4206063"/>
              <a:gd name="connsiteY0" fmla="*/ 84012 h 4412700"/>
              <a:gd name="connsiteX1" fmla="*/ 4206063 w 4206063"/>
              <a:gd name="connsiteY1" fmla="*/ 4412612 h 4412700"/>
              <a:gd name="connsiteX2" fmla="*/ 84012 w 4206063"/>
              <a:gd name="connsiteY2" fmla="*/ 4412700 h 4412700"/>
              <a:gd name="connsiteX3" fmla="*/ 0 w 4206063"/>
              <a:gd name="connsiteY3" fmla="*/ 4328688 h 4412700"/>
              <a:gd name="connsiteX4" fmla="*/ 0 w 4206063"/>
              <a:gd name="connsiteY4" fmla="*/ 84012 h 4412700"/>
              <a:gd name="connsiteX5" fmla="*/ 84012 w 4206063"/>
              <a:gd name="connsiteY5" fmla="*/ 0 h 4412700"/>
              <a:gd name="connsiteX6" fmla="*/ 4094753 w 4206063"/>
              <a:gd name="connsiteY6" fmla="*/ 43815 h 4412700"/>
              <a:gd name="connsiteX0" fmla="*/ 4204800 w 4206063"/>
              <a:gd name="connsiteY0" fmla="*/ 84012 h 4412700"/>
              <a:gd name="connsiteX1" fmla="*/ 4206063 w 4206063"/>
              <a:gd name="connsiteY1" fmla="*/ 4412612 h 4412700"/>
              <a:gd name="connsiteX2" fmla="*/ 84012 w 4206063"/>
              <a:gd name="connsiteY2" fmla="*/ 4412700 h 4412700"/>
              <a:gd name="connsiteX3" fmla="*/ 0 w 4206063"/>
              <a:gd name="connsiteY3" fmla="*/ 4328688 h 4412700"/>
              <a:gd name="connsiteX4" fmla="*/ 0 w 4206063"/>
              <a:gd name="connsiteY4" fmla="*/ 84012 h 4412700"/>
              <a:gd name="connsiteX5" fmla="*/ 84012 w 4206063"/>
              <a:gd name="connsiteY5" fmla="*/ 0 h 4412700"/>
              <a:gd name="connsiteX6" fmla="*/ 4094753 w 4206063"/>
              <a:gd name="connsiteY6" fmla="*/ 43815 h 4412700"/>
              <a:gd name="connsiteX7" fmla="*/ 4204800 w 4206063"/>
              <a:gd name="connsiteY7" fmla="*/ 84012 h 4412700"/>
              <a:gd name="connsiteX0" fmla="*/ 4094753 w 4206063"/>
              <a:gd name="connsiteY0" fmla="*/ 43815 h 4412700"/>
              <a:gd name="connsiteX1" fmla="*/ 4206063 w 4206063"/>
              <a:gd name="connsiteY1" fmla="*/ 4412612 h 4412700"/>
              <a:gd name="connsiteX2" fmla="*/ 84012 w 4206063"/>
              <a:gd name="connsiteY2" fmla="*/ 4412700 h 4412700"/>
              <a:gd name="connsiteX3" fmla="*/ 0 w 4206063"/>
              <a:gd name="connsiteY3" fmla="*/ 4328688 h 4412700"/>
              <a:gd name="connsiteX4" fmla="*/ 0 w 4206063"/>
              <a:gd name="connsiteY4" fmla="*/ 84012 h 4412700"/>
              <a:gd name="connsiteX5" fmla="*/ 84012 w 4206063"/>
              <a:gd name="connsiteY5" fmla="*/ 0 h 4412700"/>
              <a:gd name="connsiteX6" fmla="*/ 4094753 w 4206063"/>
              <a:gd name="connsiteY6" fmla="*/ 43815 h 4412700"/>
              <a:gd name="connsiteX0" fmla="*/ 4205878 w 4206063"/>
              <a:gd name="connsiteY0" fmla="*/ 0 h 4413335"/>
              <a:gd name="connsiteX1" fmla="*/ 4206063 w 4206063"/>
              <a:gd name="connsiteY1" fmla="*/ 4413247 h 4413335"/>
              <a:gd name="connsiteX2" fmla="*/ 84012 w 4206063"/>
              <a:gd name="connsiteY2" fmla="*/ 4413335 h 4413335"/>
              <a:gd name="connsiteX3" fmla="*/ 0 w 4206063"/>
              <a:gd name="connsiteY3" fmla="*/ 4329323 h 4413335"/>
              <a:gd name="connsiteX4" fmla="*/ 0 w 4206063"/>
              <a:gd name="connsiteY4" fmla="*/ 84647 h 4413335"/>
              <a:gd name="connsiteX5" fmla="*/ 84012 w 4206063"/>
              <a:gd name="connsiteY5" fmla="*/ 635 h 4413335"/>
              <a:gd name="connsiteX6" fmla="*/ 4205878 w 4206063"/>
              <a:gd name="connsiteY6" fmla="*/ 0 h 4413335"/>
              <a:gd name="connsiteX0" fmla="*/ 2728254 w 4206063"/>
              <a:gd name="connsiteY0" fmla="*/ 0 h 4413335"/>
              <a:gd name="connsiteX1" fmla="*/ 4206063 w 4206063"/>
              <a:gd name="connsiteY1" fmla="*/ 4413247 h 4413335"/>
              <a:gd name="connsiteX2" fmla="*/ 84012 w 4206063"/>
              <a:gd name="connsiteY2" fmla="*/ 4413335 h 4413335"/>
              <a:gd name="connsiteX3" fmla="*/ 0 w 4206063"/>
              <a:gd name="connsiteY3" fmla="*/ 4329323 h 4413335"/>
              <a:gd name="connsiteX4" fmla="*/ 0 w 4206063"/>
              <a:gd name="connsiteY4" fmla="*/ 84647 h 4413335"/>
              <a:gd name="connsiteX5" fmla="*/ 84012 w 4206063"/>
              <a:gd name="connsiteY5" fmla="*/ 635 h 4413335"/>
              <a:gd name="connsiteX6" fmla="*/ 2728254 w 4206063"/>
              <a:gd name="connsiteY6" fmla="*/ 0 h 4413335"/>
              <a:gd name="connsiteX0" fmla="*/ 2728254 w 2728440"/>
              <a:gd name="connsiteY0" fmla="*/ 0 h 4413335"/>
              <a:gd name="connsiteX1" fmla="*/ 2728440 w 2728440"/>
              <a:gd name="connsiteY1" fmla="*/ 4413247 h 4413335"/>
              <a:gd name="connsiteX2" fmla="*/ 84012 w 2728440"/>
              <a:gd name="connsiteY2" fmla="*/ 4413335 h 4413335"/>
              <a:gd name="connsiteX3" fmla="*/ 0 w 2728440"/>
              <a:gd name="connsiteY3" fmla="*/ 4329323 h 4413335"/>
              <a:gd name="connsiteX4" fmla="*/ 0 w 2728440"/>
              <a:gd name="connsiteY4" fmla="*/ 84647 h 4413335"/>
              <a:gd name="connsiteX5" fmla="*/ 84012 w 2728440"/>
              <a:gd name="connsiteY5" fmla="*/ 635 h 4413335"/>
              <a:gd name="connsiteX6" fmla="*/ 2728254 w 2728440"/>
              <a:gd name="connsiteY6" fmla="*/ 0 h 4413335"/>
              <a:gd name="connsiteX0" fmla="*/ 3032859 w 3032859"/>
              <a:gd name="connsiteY0" fmla="*/ 196201 h 4412700"/>
              <a:gd name="connsiteX1" fmla="*/ 2728440 w 3032859"/>
              <a:gd name="connsiteY1" fmla="*/ 4412612 h 4412700"/>
              <a:gd name="connsiteX2" fmla="*/ 84012 w 3032859"/>
              <a:gd name="connsiteY2" fmla="*/ 4412700 h 4412700"/>
              <a:gd name="connsiteX3" fmla="*/ 0 w 3032859"/>
              <a:gd name="connsiteY3" fmla="*/ 4328688 h 4412700"/>
              <a:gd name="connsiteX4" fmla="*/ 0 w 3032859"/>
              <a:gd name="connsiteY4" fmla="*/ 84012 h 4412700"/>
              <a:gd name="connsiteX5" fmla="*/ 84012 w 3032859"/>
              <a:gd name="connsiteY5" fmla="*/ 0 h 4412700"/>
              <a:gd name="connsiteX6" fmla="*/ 3032859 w 3032859"/>
              <a:gd name="connsiteY6" fmla="*/ 196201 h 4412700"/>
              <a:gd name="connsiteX0" fmla="*/ 4204415 w 4204415"/>
              <a:gd name="connsiteY0" fmla="*/ 0 h 4413335"/>
              <a:gd name="connsiteX1" fmla="*/ 2728440 w 4204415"/>
              <a:gd name="connsiteY1" fmla="*/ 4413247 h 4413335"/>
              <a:gd name="connsiteX2" fmla="*/ 84012 w 4204415"/>
              <a:gd name="connsiteY2" fmla="*/ 4413335 h 4413335"/>
              <a:gd name="connsiteX3" fmla="*/ 0 w 4204415"/>
              <a:gd name="connsiteY3" fmla="*/ 4329323 h 4413335"/>
              <a:gd name="connsiteX4" fmla="*/ 0 w 4204415"/>
              <a:gd name="connsiteY4" fmla="*/ 84647 h 4413335"/>
              <a:gd name="connsiteX5" fmla="*/ 84012 w 4204415"/>
              <a:gd name="connsiteY5" fmla="*/ 635 h 4413335"/>
              <a:gd name="connsiteX6" fmla="*/ 4204415 w 4204415"/>
              <a:gd name="connsiteY6" fmla="*/ 0 h 4413335"/>
              <a:gd name="connsiteX0" fmla="*/ 4204415 w 4209287"/>
              <a:gd name="connsiteY0" fmla="*/ 0 h 4413335"/>
              <a:gd name="connsiteX1" fmla="*/ 4209287 w 4209287"/>
              <a:gd name="connsiteY1" fmla="*/ 4413247 h 4413335"/>
              <a:gd name="connsiteX2" fmla="*/ 84012 w 4209287"/>
              <a:gd name="connsiteY2" fmla="*/ 4413335 h 4413335"/>
              <a:gd name="connsiteX3" fmla="*/ 0 w 4209287"/>
              <a:gd name="connsiteY3" fmla="*/ 4329323 h 4413335"/>
              <a:gd name="connsiteX4" fmla="*/ 0 w 4209287"/>
              <a:gd name="connsiteY4" fmla="*/ 84647 h 4413335"/>
              <a:gd name="connsiteX5" fmla="*/ 84012 w 4209287"/>
              <a:gd name="connsiteY5" fmla="*/ 635 h 4413335"/>
              <a:gd name="connsiteX6" fmla="*/ 4204415 w 4209287"/>
              <a:gd name="connsiteY6" fmla="*/ 0 h 4413335"/>
              <a:gd name="connsiteX0" fmla="*/ 4204415 w 4205669"/>
              <a:gd name="connsiteY0" fmla="*/ 0 h 4413335"/>
              <a:gd name="connsiteX1" fmla="*/ 4205669 w 4205669"/>
              <a:gd name="connsiteY1" fmla="*/ 4413247 h 4413335"/>
              <a:gd name="connsiteX2" fmla="*/ 84012 w 4205669"/>
              <a:gd name="connsiteY2" fmla="*/ 4413335 h 4413335"/>
              <a:gd name="connsiteX3" fmla="*/ 0 w 4205669"/>
              <a:gd name="connsiteY3" fmla="*/ 4329323 h 4413335"/>
              <a:gd name="connsiteX4" fmla="*/ 0 w 4205669"/>
              <a:gd name="connsiteY4" fmla="*/ 84647 h 4413335"/>
              <a:gd name="connsiteX5" fmla="*/ 84012 w 4205669"/>
              <a:gd name="connsiteY5" fmla="*/ 635 h 4413335"/>
              <a:gd name="connsiteX6" fmla="*/ 4204415 w 4205669"/>
              <a:gd name="connsiteY6" fmla="*/ 0 h 4413335"/>
              <a:gd name="connsiteX0" fmla="*/ 4264740 w 4264740"/>
              <a:gd name="connsiteY0" fmla="*/ 0 h 4413335"/>
              <a:gd name="connsiteX1" fmla="*/ 4205669 w 4264740"/>
              <a:gd name="connsiteY1" fmla="*/ 4413247 h 4413335"/>
              <a:gd name="connsiteX2" fmla="*/ 84012 w 4264740"/>
              <a:gd name="connsiteY2" fmla="*/ 4413335 h 4413335"/>
              <a:gd name="connsiteX3" fmla="*/ 0 w 4264740"/>
              <a:gd name="connsiteY3" fmla="*/ 4329323 h 4413335"/>
              <a:gd name="connsiteX4" fmla="*/ 0 w 4264740"/>
              <a:gd name="connsiteY4" fmla="*/ 84647 h 4413335"/>
              <a:gd name="connsiteX5" fmla="*/ 84012 w 4264740"/>
              <a:gd name="connsiteY5" fmla="*/ 635 h 4413335"/>
              <a:gd name="connsiteX6" fmla="*/ 4264740 w 4264740"/>
              <a:gd name="connsiteY6" fmla="*/ 0 h 4413335"/>
              <a:gd name="connsiteX0" fmla="*/ 4264740 w 4265994"/>
              <a:gd name="connsiteY0" fmla="*/ 0 h 4413335"/>
              <a:gd name="connsiteX1" fmla="*/ 4265994 w 4265994"/>
              <a:gd name="connsiteY1" fmla="*/ 4413247 h 4413335"/>
              <a:gd name="connsiteX2" fmla="*/ 84012 w 4265994"/>
              <a:gd name="connsiteY2" fmla="*/ 4413335 h 4413335"/>
              <a:gd name="connsiteX3" fmla="*/ 0 w 4265994"/>
              <a:gd name="connsiteY3" fmla="*/ 4329323 h 4413335"/>
              <a:gd name="connsiteX4" fmla="*/ 0 w 4265994"/>
              <a:gd name="connsiteY4" fmla="*/ 84647 h 4413335"/>
              <a:gd name="connsiteX5" fmla="*/ 84012 w 4265994"/>
              <a:gd name="connsiteY5" fmla="*/ 635 h 4413335"/>
              <a:gd name="connsiteX6" fmla="*/ 4264740 w 4265994"/>
              <a:gd name="connsiteY6" fmla="*/ 0 h 4413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65994" h="4413335">
                <a:moveTo>
                  <a:pt x="4264740" y="0"/>
                </a:moveTo>
                <a:lnTo>
                  <a:pt x="4265994" y="4413247"/>
                </a:lnTo>
                <a:lnTo>
                  <a:pt x="84012" y="4413335"/>
                </a:lnTo>
                <a:cubicBezTo>
                  <a:pt x="37613" y="4413335"/>
                  <a:pt x="0" y="4375722"/>
                  <a:pt x="0" y="4329323"/>
                </a:cubicBezTo>
                <a:lnTo>
                  <a:pt x="0" y="84647"/>
                </a:lnTo>
                <a:cubicBezTo>
                  <a:pt x="0" y="38248"/>
                  <a:pt x="37613" y="635"/>
                  <a:pt x="84012" y="635"/>
                </a:cubicBezTo>
                <a:lnTo>
                  <a:pt x="4264740" y="0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15706755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9ED032-079A-40AF-8530-1488FEDFB0F0}" type="datetime1">
              <a:rPr lang="fi-FI" smtClean="0"/>
              <a:t>4.2.2019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‹#›</a:t>
            </a:fld>
            <a:endParaRPr lang="fi-FI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244800" y="245064"/>
            <a:ext cx="2804454" cy="4413335"/>
          </a:xfrm>
          <a:custGeom>
            <a:avLst/>
            <a:gdLst>
              <a:gd name="connsiteX0" fmla="*/ 0 w 4204800"/>
              <a:gd name="connsiteY0" fmla="*/ 84012 h 4412700"/>
              <a:gd name="connsiteX1" fmla="*/ 84012 w 4204800"/>
              <a:gd name="connsiteY1" fmla="*/ 0 h 4412700"/>
              <a:gd name="connsiteX2" fmla="*/ 4120788 w 4204800"/>
              <a:gd name="connsiteY2" fmla="*/ 0 h 4412700"/>
              <a:gd name="connsiteX3" fmla="*/ 4204800 w 4204800"/>
              <a:gd name="connsiteY3" fmla="*/ 84012 h 4412700"/>
              <a:gd name="connsiteX4" fmla="*/ 4204800 w 4204800"/>
              <a:gd name="connsiteY4" fmla="*/ 4328688 h 4412700"/>
              <a:gd name="connsiteX5" fmla="*/ 4120788 w 4204800"/>
              <a:gd name="connsiteY5" fmla="*/ 4412700 h 4412700"/>
              <a:gd name="connsiteX6" fmla="*/ 84012 w 4204800"/>
              <a:gd name="connsiteY6" fmla="*/ 4412700 h 4412700"/>
              <a:gd name="connsiteX7" fmla="*/ 0 w 4204800"/>
              <a:gd name="connsiteY7" fmla="*/ 4328688 h 4412700"/>
              <a:gd name="connsiteX8" fmla="*/ 0 w 4204800"/>
              <a:gd name="connsiteY8" fmla="*/ 84012 h 4412700"/>
              <a:gd name="connsiteX0" fmla="*/ 4120788 w 4296240"/>
              <a:gd name="connsiteY0" fmla="*/ 4412700 h 4420128"/>
              <a:gd name="connsiteX1" fmla="*/ 84012 w 4296240"/>
              <a:gd name="connsiteY1" fmla="*/ 4412700 h 4420128"/>
              <a:gd name="connsiteX2" fmla="*/ 0 w 4296240"/>
              <a:gd name="connsiteY2" fmla="*/ 4328688 h 4420128"/>
              <a:gd name="connsiteX3" fmla="*/ 0 w 4296240"/>
              <a:gd name="connsiteY3" fmla="*/ 84012 h 4420128"/>
              <a:gd name="connsiteX4" fmla="*/ 84012 w 4296240"/>
              <a:gd name="connsiteY4" fmla="*/ 0 h 4420128"/>
              <a:gd name="connsiteX5" fmla="*/ 4120788 w 4296240"/>
              <a:gd name="connsiteY5" fmla="*/ 0 h 4420128"/>
              <a:gd name="connsiteX6" fmla="*/ 4204800 w 4296240"/>
              <a:gd name="connsiteY6" fmla="*/ 84012 h 4420128"/>
              <a:gd name="connsiteX7" fmla="*/ 4296240 w 4296240"/>
              <a:gd name="connsiteY7" fmla="*/ 4420128 h 4420128"/>
              <a:gd name="connsiteX0" fmla="*/ 4120788 w 4296240"/>
              <a:gd name="connsiteY0" fmla="*/ 4412700 h 4420128"/>
              <a:gd name="connsiteX1" fmla="*/ 84012 w 4296240"/>
              <a:gd name="connsiteY1" fmla="*/ 4412700 h 4420128"/>
              <a:gd name="connsiteX2" fmla="*/ 0 w 4296240"/>
              <a:gd name="connsiteY2" fmla="*/ 4328688 h 4420128"/>
              <a:gd name="connsiteX3" fmla="*/ 0 w 4296240"/>
              <a:gd name="connsiteY3" fmla="*/ 84012 h 4420128"/>
              <a:gd name="connsiteX4" fmla="*/ 84012 w 4296240"/>
              <a:gd name="connsiteY4" fmla="*/ 0 h 4420128"/>
              <a:gd name="connsiteX5" fmla="*/ 4120788 w 4296240"/>
              <a:gd name="connsiteY5" fmla="*/ 0 h 4420128"/>
              <a:gd name="connsiteX6" fmla="*/ 4204800 w 4296240"/>
              <a:gd name="connsiteY6" fmla="*/ 84012 h 4420128"/>
              <a:gd name="connsiteX7" fmla="*/ 4296240 w 4296240"/>
              <a:gd name="connsiteY7" fmla="*/ 4420128 h 4420128"/>
              <a:gd name="connsiteX8" fmla="*/ 4120788 w 4296240"/>
              <a:gd name="connsiteY8" fmla="*/ 4412700 h 4420128"/>
              <a:gd name="connsiteX0" fmla="*/ 4296240 w 4296240"/>
              <a:gd name="connsiteY0" fmla="*/ 4420128 h 4420128"/>
              <a:gd name="connsiteX1" fmla="*/ 84012 w 4296240"/>
              <a:gd name="connsiteY1" fmla="*/ 4412700 h 4420128"/>
              <a:gd name="connsiteX2" fmla="*/ 0 w 4296240"/>
              <a:gd name="connsiteY2" fmla="*/ 4328688 h 4420128"/>
              <a:gd name="connsiteX3" fmla="*/ 0 w 4296240"/>
              <a:gd name="connsiteY3" fmla="*/ 84012 h 4420128"/>
              <a:gd name="connsiteX4" fmla="*/ 84012 w 4296240"/>
              <a:gd name="connsiteY4" fmla="*/ 0 h 4420128"/>
              <a:gd name="connsiteX5" fmla="*/ 4120788 w 4296240"/>
              <a:gd name="connsiteY5" fmla="*/ 0 h 4420128"/>
              <a:gd name="connsiteX6" fmla="*/ 4204800 w 4296240"/>
              <a:gd name="connsiteY6" fmla="*/ 84012 h 4420128"/>
              <a:gd name="connsiteX7" fmla="*/ 4296240 w 4296240"/>
              <a:gd name="connsiteY7" fmla="*/ 4420128 h 4420128"/>
              <a:gd name="connsiteX0" fmla="*/ 4206063 w 4206063"/>
              <a:gd name="connsiteY0" fmla="*/ 4416370 h 4416370"/>
              <a:gd name="connsiteX1" fmla="*/ 84012 w 4206063"/>
              <a:gd name="connsiteY1" fmla="*/ 4412700 h 4416370"/>
              <a:gd name="connsiteX2" fmla="*/ 0 w 4206063"/>
              <a:gd name="connsiteY2" fmla="*/ 4328688 h 4416370"/>
              <a:gd name="connsiteX3" fmla="*/ 0 w 4206063"/>
              <a:gd name="connsiteY3" fmla="*/ 84012 h 4416370"/>
              <a:gd name="connsiteX4" fmla="*/ 84012 w 4206063"/>
              <a:gd name="connsiteY4" fmla="*/ 0 h 4416370"/>
              <a:gd name="connsiteX5" fmla="*/ 4120788 w 4206063"/>
              <a:gd name="connsiteY5" fmla="*/ 0 h 4416370"/>
              <a:gd name="connsiteX6" fmla="*/ 4204800 w 4206063"/>
              <a:gd name="connsiteY6" fmla="*/ 84012 h 4416370"/>
              <a:gd name="connsiteX7" fmla="*/ 4206063 w 4206063"/>
              <a:gd name="connsiteY7" fmla="*/ 4416370 h 4416370"/>
              <a:gd name="connsiteX0" fmla="*/ 4206063 w 4206063"/>
              <a:gd name="connsiteY0" fmla="*/ 4416370 h 4416370"/>
              <a:gd name="connsiteX1" fmla="*/ 84012 w 4206063"/>
              <a:gd name="connsiteY1" fmla="*/ 4412700 h 4416370"/>
              <a:gd name="connsiteX2" fmla="*/ 0 w 4206063"/>
              <a:gd name="connsiteY2" fmla="*/ 4328688 h 4416370"/>
              <a:gd name="connsiteX3" fmla="*/ 0 w 4206063"/>
              <a:gd name="connsiteY3" fmla="*/ 84012 h 4416370"/>
              <a:gd name="connsiteX4" fmla="*/ 84012 w 4206063"/>
              <a:gd name="connsiteY4" fmla="*/ 0 h 4416370"/>
              <a:gd name="connsiteX5" fmla="*/ 4120788 w 4206063"/>
              <a:gd name="connsiteY5" fmla="*/ 0 h 4416370"/>
              <a:gd name="connsiteX6" fmla="*/ 4204800 w 4206063"/>
              <a:gd name="connsiteY6" fmla="*/ 84012 h 4416370"/>
              <a:gd name="connsiteX7" fmla="*/ 4206063 w 4206063"/>
              <a:gd name="connsiteY7" fmla="*/ 4416370 h 4416370"/>
              <a:gd name="connsiteX0" fmla="*/ 4100857 w 4204800"/>
              <a:gd name="connsiteY0" fmla="*/ 4299888 h 4412700"/>
              <a:gd name="connsiteX1" fmla="*/ 84012 w 4204800"/>
              <a:gd name="connsiteY1" fmla="*/ 4412700 h 4412700"/>
              <a:gd name="connsiteX2" fmla="*/ 0 w 4204800"/>
              <a:gd name="connsiteY2" fmla="*/ 4328688 h 4412700"/>
              <a:gd name="connsiteX3" fmla="*/ 0 w 4204800"/>
              <a:gd name="connsiteY3" fmla="*/ 84012 h 4412700"/>
              <a:gd name="connsiteX4" fmla="*/ 84012 w 4204800"/>
              <a:gd name="connsiteY4" fmla="*/ 0 h 4412700"/>
              <a:gd name="connsiteX5" fmla="*/ 4120788 w 4204800"/>
              <a:gd name="connsiteY5" fmla="*/ 0 h 4412700"/>
              <a:gd name="connsiteX6" fmla="*/ 4204800 w 4204800"/>
              <a:gd name="connsiteY6" fmla="*/ 84012 h 4412700"/>
              <a:gd name="connsiteX7" fmla="*/ 4100857 w 4204800"/>
              <a:gd name="connsiteY7" fmla="*/ 4299888 h 4412700"/>
              <a:gd name="connsiteX0" fmla="*/ 4206063 w 4206063"/>
              <a:gd name="connsiteY0" fmla="*/ 4416369 h 4416369"/>
              <a:gd name="connsiteX1" fmla="*/ 84012 w 4206063"/>
              <a:gd name="connsiteY1" fmla="*/ 4412700 h 4416369"/>
              <a:gd name="connsiteX2" fmla="*/ 0 w 4206063"/>
              <a:gd name="connsiteY2" fmla="*/ 4328688 h 4416369"/>
              <a:gd name="connsiteX3" fmla="*/ 0 w 4206063"/>
              <a:gd name="connsiteY3" fmla="*/ 84012 h 4416369"/>
              <a:gd name="connsiteX4" fmla="*/ 84012 w 4206063"/>
              <a:gd name="connsiteY4" fmla="*/ 0 h 4416369"/>
              <a:gd name="connsiteX5" fmla="*/ 4120788 w 4206063"/>
              <a:gd name="connsiteY5" fmla="*/ 0 h 4416369"/>
              <a:gd name="connsiteX6" fmla="*/ 4204800 w 4206063"/>
              <a:gd name="connsiteY6" fmla="*/ 84012 h 4416369"/>
              <a:gd name="connsiteX7" fmla="*/ 4206063 w 4206063"/>
              <a:gd name="connsiteY7" fmla="*/ 4416369 h 4416369"/>
              <a:gd name="connsiteX0" fmla="*/ 4209820 w 4209820"/>
              <a:gd name="connsiteY0" fmla="*/ 4416369 h 4416369"/>
              <a:gd name="connsiteX1" fmla="*/ 84012 w 4209820"/>
              <a:gd name="connsiteY1" fmla="*/ 4412700 h 4416369"/>
              <a:gd name="connsiteX2" fmla="*/ 0 w 4209820"/>
              <a:gd name="connsiteY2" fmla="*/ 4328688 h 4416369"/>
              <a:gd name="connsiteX3" fmla="*/ 0 w 4209820"/>
              <a:gd name="connsiteY3" fmla="*/ 84012 h 4416369"/>
              <a:gd name="connsiteX4" fmla="*/ 84012 w 4209820"/>
              <a:gd name="connsiteY4" fmla="*/ 0 h 4416369"/>
              <a:gd name="connsiteX5" fmla="*/ 4120788 w 4209820"/>
              <a:gd name="connsiteY5" fmla="*/ 0 h 4416369"/>
              <a:gd name="connsiteX6" fmla="*/ 4204800 w 4209820"/>
              <a:gd name="connsiteY6" fmla="*/ 84012 h 4416369"/>
              <a:gd name="connsiteX7" fmla="*/ 4209820 w 4209820"/>
              <a:gd name="connsiteY7" fmla="*/ 4416369 h 4416369"/>
              <a:gd name="connsiteX0" fmla="*/ 4206063 w 4206063"/>
              <a:gd name="connsiteY0" fmla="*/ 4416369 h 4416369"/>
              <a:gd name="connsiteX1" fmla="*/ 84012 w 4206063"/>
              <a:gd name="connsiteY1" fmla="*/ 4412700 h 4416369"/>
              <a:gd name="connsiteX2" fmla="*/ 0 w 4206063"/>
              <a:gd name="connsiteY2" fmla="*/ 4328688 h 4416369"/>
              <a:gd name="connsiteX3" fmla="*/ 0 w 4206063"/>
              <a:gd name="connsiteY3" fmla="*/ 84012 h 4416369"/>
              <a:gd name="connsiteX4" fmla="*/ 84012 w 4206063"/>
              <a:gd name="connsiteY4" fmla="*/ 0 h 4416369"/>
              <a:gd name="connsiteX5" fmla="*/ 4120788 w 4206063"/>
              <a:gd name="connsiteY5" fmla="*/ 0 h 4416369"/>
              <a:gd name="connsiteX6" fmla="*/ 4204800 w 4206063"/>
              <a:gd name="connsiteY6" fmla="*/ 84012 h 4416369"/>
              <a:gd name="connsiteX7" fmla="*/ 4206063 w 4206063"/>
              <a:gd name="connsiteY7" fmla="*/ 4416369 h 4416369"/>
              <a:gd name="connsiteX0" fmla="*/ 4036982 w 4204800"/>
              <a:gd name="connsiteY0" fmla="*/ 4247283 h 4412700"/>
              <a:gd name="connsiteX1" fmla="*/ 84012 w 4204800"/>
              <a:gd name="connsiteY1" fmla="*/ 4412700 h 4412700"/>
              <a:gd name="connsiteX2" fmla="*/ 0 w 4204800"/>
              <a:gd name="connsiteY2" fmla="*/ 4328688 h 4412700"/>
              <a:gd name="connsiteX3" fmla="*/ 0 w 4204800"/>
              <a:gd name="connsiteY3" fmla="*/ 84012 h 4412700"/>
              <a:gd name="connsiteX4" fmla="*/ 84012 w 4204800"/>
              <a:gd name="connsiteY4" fmla="*/ 0 h 4412700"/>
              <a:gd name="connsiteX5" fmla="*/ 4120788 w 4204800"/>
              <a:gd name="connsiteY5" fmla="*/ 0 h 4412700"/>
              <a:gd name="connsiteX6" fmla="*/ 4204800 w 4204800"/>
              <a:gd name="connsiteY6" fmla="*/ 84012 h 4412700"/>
              <a:gd name="connsiteX7" fmla="*/ 4036982 w 4204800"/>
              <a:gd name="connsiteY7" fmla="*/ 4247283 h 4412700"/>
              <a:gd name="connsiteX0" fmla="*/ 4206063 w 4206063"/>
              <a:gd name="connsiteY0" fmla="*/ 4412612 h 4412700"/>
              <a:gd name="connsiteX1" fmla="*/ 84012 w 4206063"/>
              <a:gd name="connsiteY1" fmla="*/ 4412700 h 4412700"/>
              <a:gd name="connsiteX2" fmla="*/ 0 w 4206063"/>
              <a:gd name="connsiteY2" fmla="*/ 4328688 h 4412700"/>
              <a:gd name="connsiteX3" fmla="*/ 0 w 4206063"/>
              <a:gd name="connsiteY3" fmla="*/ 84012 h 4412700"/>
              <a:gd name="connsiteX4" fmla="*/ 84012 w 4206063"/>
              <a:gd name="connsiteY4" fmla="*/ 0 h 4412700"/>
              <a:gd name="connsiteX5" fmla="*/ 4120788 w 4206063"/>
              <a:gd name="connsiteY5" fmla="*/ 0 h 4412700"/>
              <a:gd name="connsiteX6" fmla="*/ 4204800 w 4206063"/>
              <a:gd name="connsiteY6" fmla="*/ 84012 h 4412700"/>
              <a:gd name="connsiteX7" fmla="*/ 4206063 w 4206063"/>
              <a:gd name="connsiteY7" fmla="*/ 4412612 h 4412700"/>
              <a:gd name="connsiteX0" fmla="*/ 4204800 w 4212228"/>
              <a:gd name="connsiteY0" fmla="*/ 84012 h 4412700"/>
              <a:gd name="connsiteX1" fmla="*/ 4206063 w 4212228"/>
              <a:gd name="connsiteY1" fmla="*/ 4412612 h 4412700"/>
              <a:gd name="connsiteX2" fmla="*/ 84012 w 4212228"/>
              <a:gd name="connsiteY2" fmla="*/ 4412700 h 4412700"/>
              <a:gd name="connsiteX3" fmla="*/ 0 w 4212228"/>
              <a:gd name="connsiteY3" fmla="*/ 4328688 h 4412700"/>
              <a:gd name="connsiteX4" fmla="*/ 0 w 4212228"/>
              <a:gd name="connsiteY4" fmla="*/ 84012 h 4412700"/>
              <a:gd name="connsiteX5" fmla="*/ 84012 w 4212228"/>
              <a:gd name="connsiteY5" fmla="*/ 0 h 4412700"/>
              <a:gd name="connsiteX6" fmla="*/ 4212228 w 4212228"/>
              <a:gd name="connsiteY6" fmla="*/ 91440 h 4412700"/>
              <a:gd name="connsiteX0" fmla="*/ 4204800 w 4206063"/>
              <a:gd name="connsiteY0" fmla="*/ 84012 h 4412700"/>
              <a:gd name="connsiteX1" fmla="*/ 4206063 w 4206063"/>
              <a:gd name="connsiteY1" fmla="*/ 4412612 h 4412700"/>
              <a:gd name="connsiteX2" fmla="*/ 84012 w 4206063"/>
              <a:gd name="connsiteY2" fmla="*/ 4412700 h 4412700"/>
              <a:gd name="connsiteX3" fmla="*/ 0 w 4206063"/>
              <a:gd name="connsiteY3" fmla="*/ 4328688 h 4412700"/>
              <a:gd name="connsiteX4" fmla="*/ 0 w 4206063"/>
              <a:gd name="connsiteY4" fmla="*/ 84012 h 4412700"/>
              <a:gd name="connsiteX5" fmla="*/ 84012 w 4206063"/>
              <a:gd name="connsiteY5" fmla="*/ 0 h 4412700"/>
              <a:gd name="connsiteX6" fmla="*/ 4094753 w 4206063"/>
              <a:gd name="connsiteY6" fmla="*/ 43815 h 4412700"/>
              <a:gd name="connsiteX0" fmla="*/ 4204800 w 4206063"/>
              <a:gd name="connsiteY0" fmla="*/ 84012 h 4412700"/>
              <a:gd name="connsiteX1" fmla="*/ 4206063 w 4206063"/>
              <a:gd name="connsiteY1" fmla="*/ 4412612 h 4412700"/>
              <a:gd name="connsiteX2" fmla="*/ 84012 w 4206063"/>
              <a:gd name="connsiteY2" fmla="*/ 4412700 h 4412700"/>
              <a:gd name="connsiteX3" fmla="*/ 0 w 4206063"/>
              <a:gd name="connsiteY3" fmla="*/ 4328688 h 4412700"/>
              <a:gd name="connsiteX4" fmla="*/ 0 w 4206063"/>
              <a:gd name="connsiteY4" fmla="*/ 84012 h 4412700"/>
              <a:gd name="connsiteX5" fmla="*/ 84012 w 4206063"/>
              <a:gd name="connsiteY5" fmla="*/ 0 h 4412700"/>
              <a:gd name="connsiteX6" fmla="*/ 4094753 w 4206063"/>
              <a:gd name="connsiteY6" fmla="*/ 43815 h 4412700"/>
              <a:gd name="connsiteX7" fmla="*/ 4204800 w 4206063"/>
              <a:gd name="connsiteY7" fmla="*/ 84012 h 4412700"/>
              <a:gd name="connsiteX0" fmla="*/ 4094753 w 4206063"/>
              <a:gd name="connsiteY0" fmla="*/ 43815 h 4412700"/>
              <a:gd name="connsiteX1" fmla="*/ 4206063 w 4206063"/>
              <a:gd name="connsiteY1" fmla="*/ 4412612 h 4412700"/>
              <a:gd name="connsiteX2" fmla="*/ 84012 w 4206063"/>
              <a:gd name="connsiteY2" fmla="*/ 4412700 h 4412700"/>
              <a:gd name="connsiteX3" fmla="*/ 0 w 4206063"/>
              <a:gd name="connsiteY3" fmla="*/ 4328688 h 4412700"/>
              <a:gd name="connsiteX4" fmla="*/ 0 w 4206063"/>
              <a:gd name="connsiteY4" fmla="*/ 84012 h 4412700"/>
              <a:gd name="connsiteX5" fmla="*/ 84012 w 4206063"/>
              <a:gd name="connsiteY5" fmla="*/ 0 h 4412700"/>
              <a:gd name="connsiteX6" fmla="*/ 4094753 w 4206063"/>
              <a:gd name="connsiteY6" fmla="*/ 43815 h 4412700"/>
              <a:gd name="connsiteX0" fmla="*/ 4205878 w 4206063"/>
              <a:gd name="connsiteY0" fmla="*/ 0 h 4413335"/>
              <a:gd name="connsiteX1" fmla="*/ 4206063 w 4206063"/>
              <a:gd name="connsiteY1" fmla="*/ 4413247 h 4413335"/>
              <a:gd name="connsiteX2" fmla="*/ 84012 w 4206063"/>
              <a:gd name="connsiteY2" fmla="*/ 4413335 h 4413335"/>
              <a:gd name="connsiteX3" fmla="*/ 0 w 4206063"/>
              <a:gd name="connsiteY3" fmla="*/ 4329323 h 4413335"/>
              <a:gd name="connsiteX4" fmla="*/ 0 w 4206063"/>
              <a:gd name="connsiteY4" fmla="*/ 84647 h 4413335"/>
              <a:gd name="connsiteX5" fmla="*/ 84012 w 4206063"/>
              <a:gd name="connsiteY5" fmla="*/ 635 h 4413335"/>
              <a:gd name="connsiteX6" fmla="*/ 4205878 w 4206063"/>
              <a:gd name="connsiteY6" fmla="*/ 0 h 4413335"/>
              <a:gd name="connsiteX0" fmla="*/ 2728254 w 4206063"/>
              <a:gd name="connsiteY0" fmla="*/ 0 h 4413335"/>
              <a:gd name="connsiteX1" fmla="*/ 4206063 w 4206063"/>
              <a:gd name="connsiteY1" fmla="*/ 4413247 h 4413335"/>
              <a:gd name="connsiteX2" fmla="*/ 84012 w 4206063"/>
              <a:gd name="connsiteY2" fmla="*/ 4413335 h 4413335"/>
              <a:gd name="connsiteX3" fmla="*/ 0 w 4206063"/>
              <a:gd name="connsiteY3" fmla="*/ 4329323 h 4413335"/>
              <a:gd name="connsiteX4" fmla="*/ 0 w 4206063"/>
              <a:gd name="connsiteY4" fmla="*/ 84647 h 4413335"/>
              <a:gd name="connsiteX5" fmla="*/ 84012 w 4206063"/>
              <a:gd name="connsiteY5" fmla="*/ 635 h 4413335"/>
              <a:gd name="connsiteX6" fmla="*/ 2728254 w 4206063"/>
              <a:gd name="connsiteY6" fmla="*/ 0 h 4413335"/>
              <a:gd name="connsiteX0" fmla="*/ 2728254 w 2728440"/>
              <a:gd name="connsiteY0" fmla="*/ 0 h 4413335"/>
              <a:gd name="connsiteX1" fmla="*/ 2728440 w 2728440"/>
              <a:gd name="connsiteY1" fmla="*/ 4413247 h 4413335"/>
              <a:gd name="connsiteX2" fmla="*/ 84012 w 2728440"/>
              <a:gd name="connsiteY2" fmla="*/ 4413335 h 4413335"/>
              <a:gd name="connsiteX3" fmla="*/ 0 w 2728440"/>
              <a:gd name="connsiteY3" fmla="*/ 4329323 h 4413335"/>
              <a:gd name="connsiteX4" fmla="*/ 0 w 2728440"/>
              <a:gd name="connsiteY4" fmla="*/ 84647 h 4413335"/>
              <a:gd name="connsiteX5" fmla="*/ 84012 w 2728440"/>
              <a:gd name="connsiteY5" fmla="*/ 635 h 4413335"/>
              <a:gd name="connsiteX6" fmla="*/ 2728254 w 2728440"/>
              <a:gd name="connsiteY6" fmla="*/ 0 h 4413335"/>
              <a:gd name="connsiteX0" fmla="*/ 2807629 w 2807629"/>
              <a:gd name="connsiteY0" fmla="*/ 0 h 4413335"/>
              <a:gd name="connsiteX1" fmla="*/ 2728440 w 2807629"/>
              <a:gd name="connsiteY1" fmla="*/ 4413247 h 4413335"/>
              <a:gd name="connsiteX2" fmla="*/ 84012 w 2807629"/>
              <a:gd name="connsiteY2" fmla="*/ 4413335 h 4413335"/>
              <a:gd name="connsiteX3" fmla="*/ 0 w 2807629"/>
              <a:gd name="connsiteY3" fmla="*/ 4329323 h 4413335"/>
              <a:gd name="connsiteX4" fmla="*/ 0 w 2807629"/>
              <a:gd name="connsiteY4" fmla="*/ 84647 h 4413335"/>
              <a:gd name="connsiteX5" fmla="*/ 84012 w 2807629"/>
              <a:gd name="connsiteY5" fmla="*/ 635 h 4413335"/>
              <a:gd name="connsiteX6" fmla="*/ 2807629 w 2807629"/>
              <a:gd name="connsiteY6" fmla="*/ 0 h 4413335"/>
              <a:gd name="connsiteX0" fmla="*/ 2807629 w 2807629"/>
              <a:gd name="connsiteY0" fmla="*/ 0 h 4413335"/>
              <a:gd name="connsiteX1" fmla="*/ 2801465 w 2807629"/>
              <a:gd name="connsiteY1" fmla="*/ 4413247 h 4413335"/>
              <a:gd name="connsiteX2" fmla="*/ 84012 w 2807629"/>
              <a:gd name="connsiteY2" fmla="*/ 4413335 h 4413335"/>
              <a:gd name="connsiteX3" fmla="*/ 0 w 2807629"/>
              <a:gd name="connsiteY3" fmla="*/ 4329323 h 4413335"/>
              <a:gd name="connsiteX4" fmla="*/ 0 w 2807629"/>
              <a:gd name="connsiteY4" fmla="*/ 84647 h 4413335"/>
              <a:gd name="connsiteX5" fmla="*/ 84012 w 2807629"/>
              <a:gd name="connsiteY5" fmla="*/ 635 h 4413335"/>
              <a:gd name="connsiteX6" fmla="*/ 2807629 w 2807629"/>
              <a:gd name="connsiteY6" fmla="*/ 0 h 4413335"/>
              <a:gd name="connsiteX0" fmla="*/ 2801279 w 2802037"/>
              <a:gd name="connsiteY0" fmla="*/ 0 h 4413335"/>
              <a:gd name="connsiteX1" fmla="*/ 2801465 w 2802037"/>
              <a:gd name="connsiteY1" fmla="*/ 4413247 h 4413335"/>
              <a:gd name="connsiteX2" fmla="*/ 84012 w 2802037"/>
              <a:gd name="connsiteY2" fmla="*/ 4413335 h 4413335"/>
              <a:gd name="connsiteX3" fmla="*/ 0 w 2802037"/>
              <a:gd name="connsiteY3" fmla="*/ 4329323 h 4413335"/>
              <a:gd name="connsiteX4" fmla="*/ 0 w 2802037"/>
              <a:gd name="connsiteY4" fmla="*/ 84647 h 4413335"/>
              <a:gd name="connsiteX5" fmla="*/ 84012 w 2802037"/>
              <a:gd name="connsiteY5" fmla="*/ 635 h 4413335"/>
              <a:gd name="connsiteX6" fmla="*/ 2801279 w 2802037"/>
              <a:gd name="connsiteY6" fmla="*/ 0 h 4413335"/>
              <a:gd name="connsiteX0" fmla="*/ 2804454 w 2804454"/>
              <a:gd name="connsiteY0" fmla="*/ 0 h 4413335"/>
              <a:gd name="connsiteX1" fmla="*/ 2801465 w 2804454"/>
              <a:gd name="connsiteY1" fmla="*/ 4413247 h 4413335"/>
              <a:gd name="connsiteX2" fmla="*/ 84012 w 2804454"/>
              <a:gd name="connsiteY2" fmla="*/ 4413335 h 4413335"/>
              <a:gd name="connsiteX3" fmla="*/ 0 w 2804454"/>
              <a:gd name="connsiteY3" fmla="*/ 4329323 h 4413335"/>
              <a:gd name="connsiteX4" fmla="*/ 0 w 2804454"/>
              <a:gd name="connsiteY4" fmla="*/ 84647 h 4413335"/>
              <a:gd name="connsiteX5" fmla="*/ 84012 w 2804454"/>
              <a:gd name="connsiteY5" fmla="*/ 635 h 4413335"/>
              <a:gd name="connsiteX6" fmla="*/ 2804454 w 2804454"/>
              <a:gd name="connsiteY6" fmla="*/ 0 h 4413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4454" h="4413335">
                <a:moveTo>
                  <a:pt x="2804454" y="0"/>
                </a:moveTo>
                <a:cubicBezTo>
                  <a:pt x="2802399" y="1471082"/>
                  <a:pt x="2803520" y="2942165"/>
                  <a:pt x="2801465" y="4413247"/>
                </a:cubicBezTo>
                <a:lnTo>
                  <a:pt x="84012" y="4413335"/>
                </a:lnTo>
                <a:cubicBezTo>
                  <a:pt x="37613" y="4413335"/>
                  <a:pt x="0" y="4375722"/>
                  <a:pt x="0" y="4329323"/>
                </a:cubicBezTo>
                <a:lnTo>
                  <a:pt x="0" y="84647"/>
                </a:lnTo>
                <a:cubicBezTo>
                  <a:pt x="0" y="38248"/>
                  <a:pt x="37613" y="635"/>
                  <a:pt x="84012" y="635"/>
                </a:cubicBezTo>
                <a:lnTo>
                  <a:pt x="2804454" y="0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Insert picture her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2811" y="244342"/>
            <a:ext cx="2806832" cy="4414057"/>
          </a:xfrm>
          <a:custGeom>
            <a:avLst/>
            <a:gdLst>
              <a:gd name="connsiteX0" fmla="*/ 0 w 4204800"/>
              <a:gd name="connsiteY0" fmla="*/ 84012 h 4412700"/>
              <a:gd name="connsiteX1" fmla="*/ 84012 w 4204800"/>
              <a:gd name="connsiteY1" fmla="*/ 0 h 4412700"/>
              <a:gd name="connsiteX2" fmla="*/ 4120788 w 4204800"/>
              <a:gd name="connsiteY2" fmla="*/ 0 h 4412700"/>
              <a:gd name="connsiteX3" fmla="*/ 4204800 w 4204800"/>
              <a:gd name="connsiteY3" fmla="*/ 84012 h 4412700"/>
              <a:gd name="connsiteX4" fmla="*/ 4204800 w 4204800"/>
              <a:gd name="connsiteY4" fmla="*/ 4328688 h 4412700"/>
              <a:gd name="connsiteX5" fmla="*/ 4120788 w 4204800"/>
              <a:gd name="connsiteY5" fmla="*/ 4412700 h 4412700"/>
              <a:gd name="connsiteX6" fmla="*/ 84012 w 4204800"/>
              <a:gd name="connsiteY6" fmla="*/ 4412700 h 4412700"/>
              <a:gd name="connsiteX7" fmla="*/ 0 w 4204800"/>
              <a:gd name="connsiteY7" fmla="*/ 4328688 h 4412700"/>
              <a:gd name="connsiteX8" fmla="*/ 0 w 4204800"/>
              <a:gd name="connsiteY8" fmla="*/ 84012 h 4412700"/>
              <a:gd name="connsiteX0" fmla="*/ 4120788 w 4296240"/>
              <a:gd name="connsiteY0" fmla="*/ 4412700 h 4420128"/>
              <a:gd name="connsiteX1" fmla="*/ 84012 w 4296240"/>
              <a:gd name="connsiteY1" fmla="*/ 4412700 h 4420128"/>
              <a:gd name="connsiteX2" fmla="*/ 0 w 4296240"/>
              <a:gd name="connsiteY2" fmla="*/ 4328688 h 4420128"/>
              <a:gd name="connsiteX3" fmla="*/ 0 w 4296240"/>
              <a:gd name="connsiteY3" fmla="*/ 84012 h 4420128"/>
              <a:gd name="connsiteX4" fmla="*/ 84012 w 4296240"/>
              <a:gd name="connsiteY4" fmla="*/ 0 h 4420128"/>
              <a:gd name="connsiteX5" fmla="*/ 4120788 w 4296240"/>
              <a:gd name="connsiteY5" fmla="*/ 0 h 4420128"/>
              <a:gd name="connsiteX6" fmla="*/ 4204800 w 4296240"/>
              <a:gd name="connsiteY6" fmla="*/ 84012 h 4420128"/>
              <a:gd name="connsiteX7" fmla="*/ 4296240 w 4296240"/>
              <a:gd name="connsiteY7" fmla="*/ 4420128 h 4420128"/>
              <a:gd name="connsiteX0" fmla="*/ 4120788 w 4296240"/>
              <a:gd name="connsiteY0" fmla="*/ 4412700 h 4420128"/>
              <a:gd name="connsiteX1" fmla="*/ 84012 w 4296240"/>
              <a:gd name="connsiteY1" fmla="*/ 4412700 h 4420128"/>
              <a:gd name="connsiteX2" fmla="*/ 0 w 4296240"/>
              <a:gd name="connsiteY2" fmla="*/ 4328688 h 4420128"/>
              <a:gd name="connsiteX3" fmla="*/ 0 w 4296240"/>
              <a:gd name="connsiteY3" fmla="*/ 84012 h 4420128"/>
              <a:gd name="connsiteX4" fmla="*/ 84012 w 4296240"/>
              <a:gd name="connsiteY4" fmla="*/ 0 h 4420128"/>
              <a:gd name="connsiteX5" fmla="*/ 4120788 w 4296240"/>
              <a:gd name="connsiteY5" fmla="*/ 0 h 4420128"/>
              <a:gd name="connsiteX6" fmla="*/ 4204800 w 4296240"/>
              <a:gd name="connsiteY6" fmla="*/ 84012 h 4420128"/>
              <a:gd name="connsiteX7" fmla="*/ 4296240 w 4296240"/>
              <a:gd name="connsiteY7" fmla="*/ 4420128 h 4420128"/>
              <a:gd name="connsiteX8" fmla="*/ 4120788 w 4296240"/>
              <a:gd name="connsiteY8" fmla="*/ 4412700 h 4420128"/>
              <a:gd name="connsiteX0" fmla="*/ 4296240 w 4296240"/>
              <a:gd name="connsiteY0" fmla="*/ 4420128 h 4420128"/>
              <a:gd name="connsiteX1" fmla="*/ 84012 w 4296240"/>
              <a:gd name="connsiteY1" fmla="*/ 4412700 h 4420128"/>
              <a:gd name="connsiteX2" fmla="*/ 0 w 4296240"/>
              <a:gd name="connsiteY2" fmla="*/ 4328688 h 4420128"/>
              <a:gd name="connsiteX3" fmla="*/ 0 w 4296240"/>
              <a:gd name="connsiteY3" fmla="*/ 84012 h 4420128"/>
              <a:gd name="connsiteX4" fmla="*/ 84012 w 4296240"/>
              <a:gd name="connsiteY4" fmla="*/ 0 h 4420128"/>
              <a:gd name="connsiteX5" fmla="*/ 4120788 w 4296240"/>
              <a:gd name="connsiteY5" fmla="*/ 0 h 4420128"/>
              <a:gd name="connsiteX6" fmla="*/ 4204800 w 4296240"/>
              <a:gd name="connsiteY6" fmla="*/ 84012 h 4420128"/>
              <a:gd name="connsiteX7" fmla="*/ 4296240 w 4296240"/>
              <a:gd name="connsiteY7" fmla="*/ 4420128 h 4420128"/>
              <a:gd name="connsiteX0" fmla="*/ 4226390 w 4226390"/>
              <a:gd name="connsiteY0" fmla="*/ 4416953 h 4416953"/>
              <a:gd name="connsiteX1" fmla="*/ 84012 w 4226390"/>
              <a:gd name="connsiteY1" fmla="*/ 4412700 h 4416953"/>
              <a:gd name="connsiteX2" fmla="*/ 0 w 4226390"/>
              <a:gd name="connsiteY2" fmla="*/ 4328688 h 4416953"/>
              <a:gd name="connsiteX3" fmla="*/ 0 w 4226390"/>
              <a:gd name="connsiteY3" fmla="*/ 84012 h 4416953"/>
              <a:gd name="connsiteX4" fmla="*/ 84012 w 4226390"/>
              <a:gd name="connsiteY4" fmla="*/ 0 h 4416953"/>
              <a:gd name="connsiteX5" fmla="*/ 4120788 w 4226390"/>
              <a:gd name="connsiteY5" fmla="*/ 0 h 4416953"/>
              <a:gd name="connsiteX6" fmla="*/ 4204800 w 4226390"/>
              <a:gd name="connsiteY6" fmla="*/ 84012 h 4416953"/>
              <a:gd name="connsiteX7" fmla="*/ 4226390 w 4226390"/>
              <a:gd name="connsiteY7" fmla="*/ 4416953 h 4416953"/>
              <a:gd name="connsiteX0" fmla="*/ 4204165 w 4204800"/>
              <a:gd name="connsiteY0" fmla="*/ 4416953 h 4416953"/>
              <a:gd name="connsiteX1" fmla="*/ 84012 w 4204800"/>
              <a:gd name="connsiteY1" fmla="*/ 4412700 h 4416953"/>
              <a:gd name="connsiteX2" fmla="*/ 0 w 4204800"/>
              <a:gd name="connsiteY2" fmla="*/ 4328688 h 4416953"/>
              <a:gd name="connsiteX3" fmla="*/ 0 w 4204800"/>
              <a:gd name="connsiteY3" fmla="*/ 84012 h 4416953"/>
              <a:gd name="connsiteX4" fmla="*/ 84012 w 4204800"/>
              <a:gd name="connsiteY4" fmla="*/ 0 h 4416953"/>
              <a:gd name="connsiteX5" fmla="*/ 4120788 w 4204800"/>
              <a:gd name="connsiteY5" fmla="*/ 0 h 4416953"/>
              <a:gd name="connsiteX6" fmla="*/ 4204800 w 4204800"/>
              <a:gd name="connsiteY6" fmla="*/ 84012 h 4416953"/>
              <a:gd name="connsiteX7" fmla="*/ 4204165 w 4204800"/>
              <a:gd name="connsiteY7" fmla="*/ 4416953 h 4416953"/>
              <a:gd name="connsiteX0" fmla="*/ 84012 w 4204800"/>
              <a:gd name="connsiteY0" fmla="*/ 0 h 4416953"/>
              <a:gd name="connsiteX1" fmla="*/ 4120788 w 4204800"/>
              <a:gd name="connsiteY1" fmla="*/ 0 h 4416953"/>
              <a:gd name="connsiteX2" fmla="*/ 4204800 w 4204800"/>
              <a:gd name="connsiteY2" fmla="*/ 84012 h 4416953"/>
              <a:gd name="connsiteX3" fmla="*/ 4204165 w 4204800"/>
              <a:gd name="connsiteY3" fmla="*/ 4416953 h 4416953"/>
              <a:gd name="connsiteX4" fmla="*/ 84012 w 4204800"/>
              <a:gd name="connsiteY4" fmla="*/ 4412700 h 4416953"/>
              <a:gd name="connsiteX5" fmla="*/ 0 w 4204800"/>
              <a:gd name="connsiteY5" fmla="*/ 4328688 h 4416953"/>
              <a:gd name="connsiteX6" fmla="*/ 91440 w 4204800"/>
              <a:gd name="connsiteY6" fmla="*/ 175452 h 4416953"/>
              <a:gd name="connsiteX0" fmla="*/ 84012 w 4204800"/>
              <a:gd name="connsiteY0" fmla="*/ 0 h 4416953"/>
              <a:gd name="connsiteX1" fmla="*/ 4120788 w 4204800"/>
              <a:gd name="connsiteY1" fmla="*/ 0 h 4416953"/>
              <a:gd name="connsiteX2" fmla="*/ 4204800 w 4204800"/>
              <a:gd name="connsiteY2" fmla="*/ 84012 h 4416953"/>
              <a:gd name="connsiteX3" fmla="*/ 4204165 w 4204800"/>
              <a:gd name="connsiteY3" fmla="*/ 4416953 h 4416953"/>
              <a:gd name="connsiteX4" fmla="*/ 84012 w 4204800"/>
              <a:gd name="connsiteY4" fmla="*/ 4412700 h 4416953"/>
              <a:gd name="connsiteX5" fmla="*/ 0 w 4204800"/>
              <a:gd name="connsiteY5" fmla="*/ 4328688 h 4416953"/>
              <a:gd name="connsiteX6" fmla="*/ 91440 w 4204800"/>
              <a:gd name="connsiteY6" fmla="*/ 175452 h 4416953"/>
              <a:gd name="connsiteX7" fmla="*/ 84012 w 4204800"/>
              <a:gd name="connsiteY7" fmla="*/ 0 h 4416953"/>
              <a:gd name="connsiteX0" fmla="*/ 84012 w 4204800"/>
              <a:gd name="connsiteY0" fmla="*/ 2348 h 4419301"/>
              <a:gd name="connsiteX1" fmla="*/ 4120788 w 4204800"/>
              <a:gd name="connsiteY1" fmla="*/ 2348 h 4419301"/>
              <a:gd name="connsiteX2" fmla="*/ 4204800 w 4204800"/>
              <a:gd name="connsiteY2" fmla="*/ 86360 h 4419301"/>
              <a:gd name="connsiteX3" fmla="*/ 4204165 w 4204800"/>
              <a:gd name="connsiteY3" fmla="*/ 4419301 h 4419301"/>
              <a:gd name="connsiteX4" fmla="*/ 84012 w 4204800"/>
              <a:gd name="connsiteY4" fmla="*/ 4415048 h 4419301"/>
              <a:gd name="connsiteX5" fmla="*/ 0 w 4204800"/>
              <a:gd name="connsiteY5" fmla="*/ 4331036 h 4419301"/>
              <a:gd name="connsiteX6" fmla="*/ 5715 w 4204800"/>
              <a:gd name="connsiteY6" fmla="*/ 0 h 4419301"/>
              <a:gd name="connsiteX7" fmla="*/ 84012 w 4204800"/>
              <a:gd name="connsiteY7" fmla="*/ 2348 h 4419301"/>
              <a:gd name="connsiteX0" fmla="*/ 84012 w 4204800"/>
              <a:gd name="connsiteY0" fmla="*/ 0 h 4416953"/>
              <a:gd name="connsiteX1" fmla="*/ 4120788 w 4204800"/>
              <a:gd name="connsiteY1" fmla="*/ 0 h 4416953"/>
              <a:gd name="connsiteX2" fmla="*/ 4204800 w 4204800"/>
              <a:gd name="connsiteY2" fmla="*/ 84012 h 4416953"/>
              <a:gd name="connsiteX3" fmla="*/ 4204165 w 4204800"/>
              <a:gd name="connsiteY3" fmla="*/ 4416953 h 4416953"/>
              <a:gd name="connsiteX4" fmla="*/ 84012 w 4204800"/>
              <a:gd name="connsiteY4" fmla="*/ 4412700 h 4416953"/>
              <a:gd name="connsiteX5" fmla="*/ 0 w 4204800"/>
              <a:gd name="connsiteY5" fmla="*/ 4328688 h 4416953"/>
              <a:gd name="connsiteX6" fmla="*/ 24765 w 4204800"/>
              <a:gd name="connsiteY6" fmla="*/ 80202 h 4416953"/>
              <a:gd name="connsiteX7" fmla="*/ 84012 w 4204800"/>
              <a:gd name="connsiteY7" fmla="*/ 0 h 4416953"/>
              <a:gd name="connsiteX0" fmla="*/ 84012 w 4204800"/>
              <a:gd name="connsiteY0" fmla="*/ 0 h 4416953"/>
              <a:gd name="connsiteX1" fmla="*/ 4120788 w 4204800"/>
              <a:gd name="connsiteY1" fmla="*/ 0 h 4416953"/>
              <a:gd name="connsiteX2" fmla="*/ 4204800 w 4204800"/>
              <a:gd name="connsiteY2" fmla="*/ 84012 h 4416953"/>
              <a:gd name="connsiteX3" fmla="*/ 4204165 w 4204800"/>
              <a:gd name="connsiteY3" fmla="*/ 4416953 h 4416953"/>
              <a:gd name="connsiteX4" fmla="*/ 84012 w 4204800"/>
              <a:gd name="connsiteY4" fmla="*/ 4412700 h 4416953"/>
              <a:gd name="connsiteX5" fmla="*/ 0 w 4204800"/>
              <a:gd name="connsiteY5" fmla="*/ 4328688 h 4416953"/>
              <a:gd name="connsiteX6" fmla="*/ 2540 w 4204800"/>
              <a:gd name="connsiteY6" fmla="*/ 827 h 4416953"/>
              <a:gd name="connsiteX7" fmla="*/ 84012 w 4204800"/>
              <a:gd name="connsiteY7" fmla="*/ 0 h 4416953"/>
              <a:gd name="connsiteX0" fmla="*/ 2540 w 4204800"/>
              <a:gd name="connsiteY0" fmla="*/ 827 h 4416953"/>
              <a:gd name="connsiteX1" fmla="*/ 4120788 w 4204800"/>
              <a:gd name="connsiteY1" fmla="*/ 0 h 4416953"/>
              <a:gd name="connsiteX2" fmla="*/ 4204800 w 4204800"/>
              <a:gd name="connsiteY2" fmla="*/ 84012 h 4416953"/>
              <a:gd name="connsiteX3" fmla="*/ 4204165 w 4204800"/>
              <a:gd name="connsiteY3" fmla="*/ 4416953 h 4416953"/>
              <a:gd name="connsiteX4" fmla="*/ 84012 w 4204800"/>
              <a:gd name="connsiteY4" fmla="*/ 4412700 h 4416953"/>
              <a:gd name="connsiteX5" fmla="*/ 0 w 4204800"/>
              <a:gd name="connsiteY5" fmla="*/ 4328688 h 4416953"/>
              <a:gd name="connsiteX6" fmla="*/ 2540 w 4204800"/>
              <a:gd name="connsiteY6" fmla="*/ 827 h 4416953"/>
              <a:gd name="connsiteX0" fmla="*/ 2540 w 4204800"/>
              <a:gd name="connsiteY0" fmla="*/ 827 h 4416953"/>
              <a:gd name="connsiteX1" fmla="*/ 4120788 w 4204800"/>
              <a:gd name="connsiteY1" fmla="*/ 0 h 4416953"/>
              <a:gd name="connsiteX2" fmla="*/ 4204800 w 4204800"/>
              <a:gd name="connsiteY2" fmla="*/ 84012 h 4416953"/>
              <a:gd name="connsiteX3" fmla="*/ 4204165 w 4204800"/>
              <a:gd name="connsiteY3" fmla="*/ 4416953 h 4416953"/>
              <a:gd name="connsiteX4" fmla="*/ 84012 w 4204800"/>
              <a:gd name="connsiteY4" fmla="*/ 4412700 h 4416953"/>
              <a:gd name="connsiteX5" fmla="*/ 0 w 4204800"/>
              <a:gd name="connsiteY5" fmla="*/ 4328688 h 4416953"/>
              <a:gd name="connsiteX6" fmla="*/ 2540 w 4204800"/>
              <a:gd name="connsiteY6" fmla="*/ 827 h 4416953"/>
              <a:gd name="connsiteX0" fmla="*/ 0 w 4205435"/>
              <a:gd name="connsiteY0" fmla="*/ 827 h 4416953"/>
              <a:gd name="connsiteX1" fmla="*/ 4121423 w 4205435"/>
              <a:gd name="connsiteY1" fmla="*/ 0 h 4416953"/>
              <a:gd name="connsiteX2" fmla="*/ 4205435 w 4205435"/>
              <a:gd name="connsiteY2" fmla="*/ 84012 h 4416953"/>
              <a:gd name="connsiteX3" fmla="*/ 4204800 w 4205435"/>
              <a:gd name="connsiteY3" fmla="*/ 4416953 h 4416953"/>
              <a:gd name="connsiteX4" fmla="*/ 84647 w 4205435"/>
              <a:gd name="connsiteY4" fmla="*/ 4412700 h 4416953"/>
              <a:gd name="connsiteX5" fmla="*/ 635 w 4205435"/>
              <a:gd name="connsiteY5" fmla="*/ 4328688 h 4416953"/>
              <a:gd name="connsiteX6" fmla="*/ 0 w 4205435"/>
              <a:gd name="connsiteY6" fmla="*/ 827 h 4416953"/>
              <a:gd name="connsiteX0" fmla="*/ 0 w 4205435"/>
              <a:gd name="connsiteY0" fmla="*/ 827 h 4416953"/>
              <a:gd name="connsiteX1" fmla="*/ 4121423 w 4205435"/>
              <a:gd name="connsiteY1" fmla="*/ 0 h 4416953"/>
              <a:gd name="connsiteX2" fmla="*/ 4205435 w 4205435"/>
              <a:gd name="connsiteY2" fmla="*/ 84012 h 4416953"/>
              <a:gd name="connsiteX3" fmla="*/ 4204800 w 4205435"/>
              <a:gd name="connsiteY3" fmla="*/ 4416953 h 4416953"/>
              <a:gd name="connsiteX4" fmla="*/ 84647 w 4205435"/>
              <a:gd name="connsiteY4" fmla="*/ 4412700 h 4416953"/>
              <a:gd name="connsiteX5" fmla="*/ 635 w 4205435"/>
              <a:gd name="connsiteY5" fmla="*/ 4328688 h 4416953"/>
              <a:gd name="connsiteX6" fmla="*/ 0 w 4205435"/>
              <a:gd name="connsiteY6" fmla="*/ 827 h 4416953"/>
              <a:gd name="connsiteX0" fmla="*/ 635 w 4205435"/>
              <a:gd name="connsiteY0" fmla="*/ 4328688 h 4504140"/>
              <a:gd name="connsiteX1" fmla="*/ 0 w 4205435"/>
              <a:gd name="connsiteY1" fmla="*/ 827 h 4504140"/>
              <a:gd name="connsiteX2" fmla="*/ 4121423 w 4205435"/>
              <a:gd name="connsiteY2" fmla="*/ 0 h 4504140"/>
              <a:gd name="connsiteX3" fmla="*/ 4205435 w 4205435"/>
              <a:gd name="connsiteY3" fmla="*/ 84012 h 4504140"/>
              <a:gd name="connsiteX4" fmla="*/ 4204800 w 4205435"/>
              <a:gd name="connsiteY4" fmla="*/ 4416953 h 4504140"/>
              <a:gd name="connsiteX5" fmla="*/ 176087 w 4205435"/>
              <a:gd name="connsiteY5" fmla="*/ 4504140 h 4504140"/>
              <a:gd name="connsiteX0" fmla="*/ 635 w 4205435"/>
              <a:gd name="connsiteY0" fmla="*/ 4328688 h 4504140"/>
              <a:gd name="connsiteX1" fmla="*/ 0 w 4205435"/>
              <a:gd name="connsiteY1" fmla="*/ 827 h 4504140"/>
              <a:gd name="connsiteX2" fmla="*/ 4121423 w 4205435"/>
              <a:gd name="connsiteY2" fmla="*/ 0 h 4504140"/>
              <a:gd name="connsiteX3" fmla="*/ 4205435 w 4205435"/>
              <a:gd name="connsiteY3" fmla="*/ 84012 h 4504140"/>
              <a:gd name="connsiteX4" fmla="*/ 4204800 w 4205435"/>
              <a:gd name="connsiteY4" fmla="*/ 4416953 h 4504140"/>
              <a:gd name="connsiteX5" fmla="*/ 176087 w 4205435"/>
              <a:gd name="connsiteY5" fmla="*/ 4504140 h 4504140"/>
              <a:gd name="connsiteX6" fmla="*/ 635 w 4205435"/>
              <a:gd name="connsiteY6" fmla="*/ 4328688 h 4504140"/>
              <a:gd name="connsiteX0" fmla="*/ 635 w 4205435"/>
              <a:gd name="connsiteY0" fmla="*/ 4328688 h 4416953"/>
              <a:gd name="connsiteX1" fmla="*/ 0 w 4205435"/>
              <a:gd name="connsiteY1" fmla="*/ 827 h 4416953"/>
              <a:gd name="connsiteX2" fmla="*/ 4121423 w 4205435"/>
              <a:gd name="connsiteY2" fmla="*/ 0 h 4416953"/>
              <a:gd name="connsiteX3" fmla="*/ 4205435 w 4205435"/>
              <a:gd name="connsiteY3" fmla="*/ 84012 h 4416953"/>
              <a:gd name="connsiteX4" fmla="*/ 4204800 w 4205435"/>
              <a:gd name="connsiteY4" fmla="*/ 4416953 h 4416953"/>
              <a:gd name="connsiteX5" fmla="*/ 1462 w 4205435"/>
              <a:gd name="connsiteY5" fmla="*/ 4408890 h 4416953"/>
              <a:gd name="connsiteX6" fmla="*/ 635 w 4205435"/>
              <a:gd name="connsiteY6" fmla="*/ 4328688 h 4416953"/>
              <a:gd name="connsiteX0" fmla="*/ 635 w 4205435"/>
              <a:gd name="connsiteY0" fmla="*/ 4328688 h 4416953"/>
              <a:gd name="connsiteX1" fmla="*/ 0 w 4205435"/>
              <a:gd name="connsiteY1" fmla="*/ 827 h 4416953"/>
              <a:gd name="connsiteX2" fmla="*/ 4121423 w 4205435"/>
              <a:gd name="connsiteY2" fmla="*/ 0 h 4416953"/>
              <a:gd name="connsiteX3" fmla="*/ 4205435 w 4205435"/>
              <a:gd name="connsiteY3" fmla="*/ 84012 h 4416953"/>
              <a:gd name="connsiteX4" fmla="*/ 4204800 w 4205435"/>
              <a:gd name="connsiteY4" fmla="*/ 4416953 h 4416953"/>
              <a:gd name="connsiteX5" fmla="*/ 4637 w 4205435"/>
              <a:gd name="connsiteY5" fmla="*/ 4415240 h 4416953"/>
              <a:gd name="connsiteX6" fmla="*/ 635 w 4205435"/>
              <a:gd name="connsiteY6" fmla="*/ 4328688 h 4416953"/>
              <a:gd name="connsiteX0" fmla="*/ 100773 w 4305573"/>
              <a:gd name="connsiteY0" fmla="*/ 4328688 h 4416953"/>
              <a:gd name="connsiteX1" fmla="*/ 100138 w 4305573"/>
              <a:gd name="connsiteY1" fmla="*/ 827 h 4416953"/>
              <a:gd name="connsiteX2" fmla="*/ 4221561 w 4305573"/>
              <a:gd name="connsiteY2" fmla="*/ 0 h 4416953"/>
              <a:gd name="connsiteX3" fmla="*/ 4305573 w 4305573"/>
              <a:gd name="connsiteY3" fmla="*/ 84012 h 4416953"/>
              <a:gd name="connsiteX4" fmla="*/ 4304938 w 4305573"/>
              <a:gd name="connsiteY4" fmla="*/ 4416953 h 4416953"/>
              <a:gd name="connsiteX5" fmla="*/ 0 w 4305573"/>
              <a:gd name="connsiteY5" fmla="*/ 4415240 h 4416953"/>
              <a:gd name="connsiteX6" fmla="*/ 100773 w 4305573"/>
              <a:gd name="connsiteY6" fmla="*/ 4328688 h 4416953"/>
              <a:gd name="connsiteX0" fmla="*/ 2367 w 4207167"/>
              <a:gd name="connsiteY0" fmla="*/ 4328688 h 4416953"/>
              <a:gd name="connsiteX1" fmla="*/ 1732 w 4207167"/>
              <a:gd name="connsiteY1" fmla="*/ 827 h 4416953"/>
              <a:gd name="connsiteX2" fmla="*/ 4123155 w 4207167"/>
              <a:gd name="connsiteY2" fmla="*/ 0 h 4416953"/>
              <a:gd name="connsiteX3" fmla="*/ 4207167 w 4207167"/>
              <a:gd name="connsiteY3" fmla="*/ 84012 h 4416953"/>
              <a:gd name="connsiteX4" fmla="*/ 4206532 w 4207167"/>
              <a:gd name="connsiteY4" fmla="*/ 4416953 h 4416953"/>
              <a:gd name="connsiteX5" fmla="*/ 19 w 4207167"/>
              <a:gd name="connsiteY5" fmla="*/ 4415240 h 4416953"/>
              <a:gd name="connsiteX6" fmla="*/ 2367 w 4207167"/>
              <a:gd name="connsiteY6" fmla="*/ 4328688 h 4416953"/>
              <a:gd name="connsiteX0" fmla="*/ 2367 w 4207167"/>
              <a:gd name="connsiteY0" fmla="*/ 4328688 h 4418415"/>
              <a:gd name="connsiteX1" fmla="*/ 1732 w 4207167"/>
              <a:gd name="connsiteY1" fmla="*/ 827 h 4418415"/>
              <a:gd name="connsiteX2" fmla="*/ 4123155 w 4207167"/>
              <a:gd name="connsiteY2" fmla="*/ 0 h 4418415"/>
              <a:gd name="connsiteX3" fmla="*/ 4207167 w 4207167"/>
              <a:gd name="connsiteY3" fmla="*/ 84012 h 4418415"/>
              <a:gd name="connsiteX4" fmla="*/ 4206532 w 4207167"/>
              <a:gd name="connsiteY4" fmla="*/ 4416953 h 4418415"/>
              <a:gd name="connsiteX5" fmla="*/ 19 w 4207167"/>
              <a:gd name="connsiteY5" fmla="*/ 4418415 h 4418415"/>
              <a:gd name="connsiteX6" fmla="*/ 2367 w 4207167"/>
              <a:gd name="connsiteY6" fmla="*/ 4328688 h 4418415"/>
              <a:gd name="connsiteX0" fmla="*/ 635 w 4205435"/>
              <a:gd name="connsiteY0" fmla="*/ 4328688 h 4497790"/>
              <a:gd name="connsiteX1" fmla="*/ 0 w 4205435"/>
              <a:gd name="connsiteY1" fmla="*/ 827 h 4497790"/>
              <a:gd name="connsiteX2" fmla="*/ 4121423 w 4205435"/>
              <a:gd name="connsiteY2" fmla="*/ 0 h 4497790"/>
              <a:gd name="connsiteX3" fmla="*/ 4205435 w 4205435"/>
              <a:gd name="connsiteY3" fmla="*/ 84012 h 4497790"/>
              <a:gd name="connsiteX4" fmla="*/ 4204800 w 4205435"/>
              <a:gd name="connsiteY4" fmla="*/ 4416953 h 4497790"/>
              <a:gd name="connsiteX5" fmla="*/ 10987 w 4205435"/>
              <a:gd name="connsiteY5" fmla="*/ 4497790 h 4497790"/>
              <a:gd name="connsiteX6" fmla="*/ 635 w 4205435"/>
              <a:gd name="connsiteY6" fmla="*/ 4328688 h 4497790"/>
              <a:gd name="connsiteX0" fmla="*/ 635 w 4205435"/>
              <a:gd name="connsiteY0" fmla="*/ 4328688 h 4416953"/>
              <a:gd name="connsiteX1" fmla="*/ 0 w 4205435"/>
              <a:gd name="connsiteY1" fmla="*/ 827 h 4416953"/>
              <a:gd name="connsiteX2" fmla="*/ 4121423 w 4205435"/>
              <a:gd name="connsiteY2" fmla="*/ 0 h 4416953"/>
              <a:gd name="connsiteX3" fmla="*/ 4205435 w 4205435"/>
              <a:gd name="connsiteY3" fmla="*/ 84012 h 4416953"/>
              <a:gd name="connsiteX4" fmla="*/ 4204800 w 4205435"/>
              <a:gd name="connsiteY4" fmla="*/ 4416953 h 4416953"/>
              <a:gd name="connsiteX5" fmla="*/ 635 w 4205435"/>
              <a:gd name="connsiteY5" fmla="*/ 4328688 h 4416953"/>
              <a:gd name="connsiteX0" fmla="*/ 0 w 4249250"/>
              <a:gd name="connsiteY0" fmla="*/ 4452513 h 4452513"/>
              <a:gd name="connsiteX1" fmla="*/ 43815 w 4249250"/>
              <a:gd name="connsiteY1" fmla="*/ 827 h 4452513"/>
              <a:gd name="connsiteX2" fmla="*/ 4165238 w 4249250"/>
              <a:gd name="connsiteY2" fmla="*/ 0 h 4452513"/>
              <a:gd name="connsiteX3" fmla="*/ 4249250 w 4249250"/>
              <a:gd name="connsiteY3" fmla="*/ 84012 h 4452513"/>
              <a:gd name="connsiteX4" fmla="*/ 4248615 w 4249250"/>
              <a:gd name="connsiteY4" fmla="*/ 4416953 h 4452513"/>
              <a:gd name="connsiteX5" fmla="*/ 0 w 4249250"/>
              <a:gd name="connsiteY5" fmla="*/ 4452513 h 4452513"/>
              <a:gd name="connsiteX0" fmla="*/ 0 w 4207975"/>
              <a:gd name="connsiteY0" fmla="*/ 4414413 h 4416953"/>
              <a:gd name="connsiteX1" fmla="*/ 2540 w 4207975"/>
              <a:gd name="connsiteY1" fmla="*/ 827 h 4416953"/>
              <a:gd name="connsiteX2" fmla="*/ 4123963 w 4207975"/>
              <a:gd name="connsiteY2" fmla="*/ 0 h 4416953"/>
              <a:gd name="connsiteX3" fmla="*/ 4207975 w 4207975"/>
              <a:gd name="connsiteY3" fmla="*/ 84012 h 4416953"/>
              <a:gd name="connsiteX4" fmla="*/ 4207340 w 4207975"/>
              <a:gd name="connsiteY4" fmla="*/ 4416953 h 4416953"/>
              <a:gd name="connsiteX5" fmla="*/ 0 w 4207975"/>
              <a:gd name="connsiteY5" fmla="*/ 4414413 h 4416953"/>
              <a:gd name="connsiteX0" fmla="*/ 0 w 4207975"/>
              <a:gd name="connsiteY0" fmla="*/ 4417588 h 4417588"/>
              <a:gd name="connsiteX1" fmla="*/ 2540 w 4207975"/>
              <a:gd name="connsiteY1" fmla="*/ 827 h 4417588"/>
              <a:gd name="connsiteX2" fmla="*/ 4123963 w 4207975"/>
              <a:gd name="connsiteY2" fmla="*/ 0 h 4417588"/>
              <a:gd name="connsiteX3" fmla="*/ 4207975 w 4207975"/>
              <a:gd name="connsiteY3" fmla="*/ 84012 h 4417588"/>
              <a:gd name="connsiteX4" fmla="*/ 4207340 w 4207975"/>
              <a:gd name="connsiteY4" fmla="*/ 4416953 h 4417588"/>
              <a:gd name="connsiteX5" fmla="*/ 0 w 4207975"/>
              <a:gd name="connsiteY5" fmla="*/ 4417588 h 4417588"/>
              <a:gd name="connsiteX0" fmla="*/ 1481153 w 4205435"/>
              <a:gd name="connsiteY0" fmla="*/ 4417588 h 4417588"/>
              <a:gd name="connsiteX1" fmla="*/ 0 w 4205435"/>
              <a:gd name="connsiteY1" fmla="*/ 827 h 4417588"/>
              <a:gd name="connsiteX2" fmla="*/ 4121423 w 4205435"/>
              <a:gd name="connsiteY2" fmla="*/ 0 h 4417588"/>
              <a:gd name="connsiteX3" fmla="*/ 4205435 w 4205435"/>
              <a:gd name="connsiteY3" fmla="*/ 84012 h 4417588"/>
              <a:gd name="connsiteX4" fmla="*/ 4204800 w 4205435"/>
              <a:gd name="connsiteY4" fmla="*/ 4416953 h 4417588"/>
              <a:gd name="connsiteX5" fmla="*/ 1481153 w 4205435"/>
              <a:gd name="connsiteY5" fmla="*/ 4417588 h 4417588"/>
              <a:gd name="connsiteX0" fmla="*/ 1846 w 2726128"/>
              <a:gd name="connsiteY0" fmla="*/ 4417588 h 4417588"/>
              <a:gd name="connsiteX1" fmla="*/ 0 w 2726128"/>
              <a:gd name="connsiteY1" fmla="*/ 827 h 4417588"/>
              <a:gd name="connsiteX2" fmla="*/ 2642116 w 2726128"/>
              <a:gd name="connsiteY2" fmla="*/ 0 h 4417588"/>
              <a:gd name="connsiteX3" fmla="*/ 2726128 w 2726128"/>
              <a:gd name="connsiteY3" fmla="*/ 84012 h 4417588"/>
              <a:gd name="connsiteX4" fmla="*/ 2725493 w 2726128"/>
              <a:gd name="connsiteY4" fmla="*/ 4416953 h 4417588"/>
              <a:gd name="connsiteX5" fmla="*/ 1846 w 2726128"/>
              <a:gd name="connsiteY5" fmla="*/ 4417588 h 4417588"/>
              <a:gd name="connsiteX0" fmla="*/ 1846 w 2726128"/>
              <a:gd name="connsiteY0" fmla="*/ 4421522 h 4421522"/>
              <a:gd name="connsiteX1" fmla="*/ 0 w 2726128"/>
              <a:gd name="connsiteY1" fmla="*/ 0 h 4421522"/>
              <a:gd name="connsiteX2" fmla="*/ 2642116 w 2726128"/>
              <a:gd name="connsiteY2" fmla="*/ 3934 h 4421522"/>
              <a:gd name="connsiteX3" fmla="*/ 2726128 w 2726128"/>
              <a:gd name="connsiteY3" fmla="*/ 87946 h 4421522"/>
              <a:gd name="connsiteX4" fmla="*/ 2725493 w 2726128"/>
              <a:gd name="connsiteY4" fmla="*/ 4420887 h 4421522"/>
              <a:gd name="connsiteX5" fmla="*/ 1846 w 2726128"/>
              <a:gd name="connsiteY5" fmla="*/ 4421522 h 4421522"/>
              <a:gd name="connsiteX0" fmla="*/ 1846 w 2726128"/>
              <a:gd name="connsiteY0" fmla="*/ 4421522 h 4421522"/>
              <a:gd name="connsiteX1" fmla="*/ 0 w 2726128"/>
              <a:gd name="connsiteY1" fmla="*/ 0 h 4421522"/>
              <a:gd name="connsiteX2" fmla="*/ 2642116 w 2726128"/>
              <a:gd name="connsiteY2" fmla="*/ 3934 h 4421522"/>
              <a:gd name="connsiteX3" fmla="*/ 2726128 w 2726128"/>
              <a:gd name="connsiteY3" fmla="*/ 87946 h 4421522"/>
              <a:gd name="connsiteX4" fmla="*/ 2725493 w 2726128"/>
              <a:gd name="connsiteY4" fmla="*/ 4420887 h 4421522"/>
              <a:gd name="connsiteX5" fmla="*/ 1846 w 2726128"/>
              <a:gd name="connsiteY5" fmla="*/ 4421522 h 4421522"/>
              <a:gd name="connsiteX0" fmla="*/ 1846 w 2726128"/>
              <a:gd name="connsiteY0" fmla="*/ 4421522 h 4421522"/>
              <a:gd name="connsiteX1" fmla="*/ 0 w 2726128"/>
              <a:gd name="connsiteY1" fmla="*/ 0 h 4421522"/>
              <a:gd name="connsiteX2" fmla="*/ 2642116 w 2726128"/>
              <a:gd name="connsiteY2" fmla="*/ 3934 h 4421522"/>
              <a:gd name="connsiteX3" fmla="*/ 2726128 w 2726128"/>
              <a:gd name="connsiteY3" fmla="*/ 87946 h 4421522"/>
              <a:gd name="connsiteX4" fmla="*/ 2725493 w 2726128"/>
              <a:gd name="connsiteY4" fmla="*/ 4420887 h 4421522"/>
              <a:gd name="connsiteX5" fmla="*/ 1846 w 2726128"/>
              <a:gd name="connsiteY5" fmla="*/ 4421522 h 4421522"/>
              <a:gd name="connsiteX0" fmla="*/ 1846 w 2726128"/>
              <a:gd name="connsiteY0" fmla="*/ 4426283 h 4426283"/>
              <a:gd name="connsiteX1" fmla="*/ 0 w 2726128"/>
              <a:gd name="connsiteY1" fmla="*/ 0 h 4426283"/>
              <a:gd name="connsiteX2" fmla="*/ 2642116 w 2726128"/>
              <a:gd name="connsiteY2" fmla="*/ 8695 h 4426283"/>
              <a:gd name="connsiteX3" fmla="*/ 2726128 w 2726128"/>
              <a:gd name="connsiteY3" fmla="*/ 92707 h 4426283"/>
              <a:gd name="connsiteX4" fmla="*/ 2725493 w 2726128"/>
              <a:gd name="connsiteY4" fmla="*/ 4425648 h 4426283"/>
              <a:gd name="connsiteX5" fmla="*/ 1846 w 2726128"/>
              <a:gd name="connsiteY5" fmla="*/ 4426283 h 4426283"/>
              <a:gd name="connsiteX0" fmla="*/ 1846 w 2726128"/>
              <a:gd name="connsiteY0" fmla="*/ 4421523 h 4421523"/>
              <a:gd name="connsiteX1" fmla="*/ 0 w 2726128"/>
              <a:gd name="connsiteY1" fmla="*/ 0 h 4421523"/>
              <a:gd name="connsiteX2" fmla="*/ 2642116 w 2726128"/>
              <a:gd name="connsiteY2" fmla="*/ 3935 h 4421523"/>
              <a:gd name="connsiteX3" fmla="*/ 2726128 w 2726128"/>
              <a:gd name="connsiteY3" fmla="*/ 87947 h 4421523"/>
              <a:gd name="connsiteX4" fmla="*/ 2725493 w 2726128"/>
              <a:gd name="connsiteY4" fmla="*/ 4420888 h 4421523"/>
              <a:gd name="connsiteX5" fmla="*/ 1846 w 2726128"/>
              <a:gd name="connsiteY5" fmla="*/ 4421523 h 4421523"/>
              <a:gd name="connsiteX0" fmla="*/ 1846 w 2726128"/>
              <a:gd name="connsiteY0" fmla="*/ 4417588 h 4417588"/>
              <a:gd name="connsiteX1" fmla="*/ 0 w 2726128"/>
              <a:gd name="connsiteY1" fmla="*/ 2720 h 4417588"/>
              <a:gd name="connsiteX2" fmla="*/ 2642116 w 2726128"/>
              <a:gd name="connsiteY2" fmla="*/ 0 h 4417588"/>
              <a:gd name="connsiteX3" fmla="*/ 2726128 w 2726128"/>
              <a:gd name="connsiteY3" fmla="*/ 84012 h 4417588"/>
              <a:gd name="connsiteX4" fmla="*/ 2725493 w 2726128"/>
              <a:gd name="connsiteY4" fmla="*/ 4416953 h 4417588"/>
              <a:gd name="connsiteX5" fmla="*/ 1846 w 2726128"/>
              <a:gd name="connsiteY5" fmla="*/ 4417588 h 4417588"/>
              <a:gd name="connsiteX0" fmla="*/ 5021 w 2729303"/>
              <a:gd name="connsiteY0" fmla="*/ 4418045 h 4418045"/>
              <a:gd name="connsiteX1" fmla="*/ 0 w 2729303"/>
              <a:gd name="connsiteY1" fmla="*/ 0 h 4418045"/>
              <a:gd name="connsiteX2" fmla="*/ 2645291 w 2729303"/>
              <a:gd name="connsiteY2" fmla="*/ 457 h 4418045"/>
              <a:gd name="connsiteX3" fmla="*/ 2729303 w 2729303"/>
              <a:gd name="connsiteY3" fmla="*/ 84469 h 4418045"/>
              <a:gd name="connsiteX4" fmla="*/ 2728668 w 2729303"/>
              <a:gd name="connsiteY4" fmla="*/ 4417410 h 4418045"/>
              <a:gd name="connsiteX5" fmla="*/ 5021 w 2729303"/>
              <a:gd name="connsiteY5" fmla="*/ 4418045 h 4418045"/>
              <a:gd name="connsiteX0" fmla="*/ 78046 w 2802328"/>
              <a:gd name="connsiteY0" fmla="*/ 4418045 h 4418045"/>
              <a:gd name="connsiteX1" fmla="*/ 0 w 2802328"/>
              <a:gd name="connsiteY1" fmla="*/ 0 h 4418045"/>
              <a:gd name="connsiteX2" fmla="*/ 2718316 w 2802328"/>
              <a:gd name="connsiteY2" fmla="*/ 457 h 4418045"/>
              <a:gd name="connsiteX3" fmla="*/ 2802328 w 2802328"/>
              <a:gd name="connsiteY3" fmla="*/ 84469 h 4418045"/>
              <a:gd name="connsiteX4" fmla="*/ 2801693 w 2802328"/>
              <a:gd name="connsiteY4" fmla="*/ 4417410 h 4418045"/>
              <a:gd name="connsiteX5" fmla="*/ 78046 w 2802328"/>
              <a:gd name="connsiteY5" fmla="*/ 4418045 h 4418045"/>
              <a:gd name="connsiteX0" fmla="*/ 0 w 2806832"/>
              <a:gd name="connsiteY0" fmla="*/ 4418045 h 4418045"/>
              <a:gd name="connsiteX1" fmla="*/ 4504 w 2806832"/>
              <a:gd name="connsiteY1" fmla="*/ 0 h 4418045"/>
              <a:gd name="connsiteX2" fmla="*/ 2722820 w 2806832"/>
              <a:gd name="connsiteY2" fmla="*/ 457 h 4418045"/>
              <a:gd name="connsiteX3" fmla="*/ 2806832 w 2806832"/>
              <a:gd name="connsiteY3" fmla="*/ 84469 h 4418045"/>
              <a:gd name="connsiteX4" fmla="*/ 2806197 w 2806832"/>
              <a:gd name="connsiteY4" fmla="*/ 4417410 h 4418045"/>
              <a:gd name="connsiteX5" fmla="*/ 0 w 2806832"/>
              <a:gd name="connsiteY5" fmla="*/ 4418045 h 4418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06832" h="4418045">
                <a:moveTo>
                  <a:pt x="0" y="4418045"/>
                </a:moveTo>
                <a:cubicBezTo>
                  <a:pt x="0" y="3003153"/>
                  <a:pt x="4504" y="0"/>
                  <a:pt x="4504" y="0"/>
                </a:cubicBezTo>
                <a:lnTo>
                  <a:pt x="2722820" y="457"/>
                </a:lnTo>
                <a:cubicBezTo>
                  <a:pt x="2769219" y="457"/>
                  <a:pt x="2806832" y="38070"/>
                  <a:pt x="2806832" y="84469"/>
                </a:cubicBezTo>
                <a:cubicBezTo>
                  <a:pt x="2806832" y="1499361"/>
                  <a:pt x="2806197" y="4417410"/>
                  <a:pt x="2806197" y="4417410"/>
                </a:cubicBezTo>
                <a:lnTo>
                  <a:pt x="0" y="4418045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Insert picture her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3169800" y="245699"/>
            <a:ext cx="2804400" cy="44127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41199867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727200" y="1774800"/>
            <a:ext cx="4654800" cy="1594800"/>
          </a:xfrm>
        </p:spPr>
        <p:txBody>
          <a:bodyPr>
            <a:normAutofit/>
          </a:bodyPr>
          <a:lstStyle>
            <a:lvl1pPr>
              <a:defRPr sz="3200">
                <a:solidFill>
                  <a:srgbClr val="001177"/>
                </a:solidFill>
              </a:defRPr>
            </a:lvl1pPr>
          </a:lstStyle>
          <a:p>
            <a:r>
              <a:rPr lang="fi-FI"/>
              <a:t>Click to edit </a:t>
            </a:r>
            <a:br>
              <a:rPr lang="fi-FI"/>
            </a:br>
            <a:r>
              <a:rPr lang="fi-FI"/>
              <a:t>Master title style</a:t>
            </a:r>
            <a:endParaRPr lang="fi-FI" dirty="0"/>
          </a:p>
        </p:txBody>
      </p:sp>
      <p:sp>
        <p:nvSpPr>
          <p:cNvPr id="14" name="Freeform 5"/>
          <p:cNvSpPr>
            <a:spLocks noEditPoints="1"/>
          </p:cNvSpPr>
          <p:nvPr userDrawn="1"/>
        </p:nvSpPr>
        <p:spPr bwMode="auto">
          <a:xfrm>
            <a:off x="6809186" y="229278"/>
            <a:ext cx="2336800" cy="2593975"/>
          </a:xfrm>
          <a:custGeom>
            <a:avLst/>
            <a:gdLst>
              <a:gd name="T0" fmla="*/ 0 w 12954"/>
              <a:gd name="T1" fmla="*/ 7193 h 14387"/>
              <a:gd name="T2" fmla="*/ 7193 w 12954"/>
              <a:gd name="T3" fmla="*/ 0 h 14387"/>
              <a:gd name="T4" fmla="*/ 12954 w 12954"/>
              <a:gd name="T5" fmla="*/ 0 h 14387"/>
              <a:gd name="T6" fmla="*/ 12954 w 12954"/>
              <a:gd name="T7" fmla="*/ 11503 h 14387"/>
              <a:gd name="T8" fmla="*/ 7193 w 12954"/>
              <a:gd name="T9" fmla="*/ 14387 h 14387"/>
              <a:gd name="T10" fmla="*/ 0 w 12954"/>
              <a:gd name="T11" fmla="*/ 7193 h 14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954" h="14387">
                <a:moveTo>
                  <a:pt x="0" y="7193"/>
                </a:moveTo>
                <a:cubicBezTo>
                  <a:pt x="0" y="3222"/>
                  <a:pt x="3221" y="0"/>
                  <a:pt x="7193" y="0"/>
                </a:cubicBezTo>
                <a:lnTo>
                  <a:pt x="12954" y="0"/>
                </a:lnTo>
                <a:moveTo>
                  <a:pt x="12954" y="11503"/>
                </a:moveTo>
                <a:cubicBezTo>
                  <a:pt x="11642" y="13254"/>
                  <a:pt x="9550" y="14387"/>
                  <a:pt x="7193" y="14387"/>
                </a:cubicBezTo>
                <a:cubicBezTo>
                  <a:pt x="3221" y="14387"/>
                  <a:pt x="0" y="11167"/>
                  <a:pt x="0" y="7193"/>
                </a:cubicBezTo>
              </a:path>
            </a:pathLst>
          </a:custGeom>
          <a:noFill/>
          <a:ln w="12700" cap="flat">
            <a:solidFill>
              <a:srgbClr val="66C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5" name="Freeform 6"/>
          <p:cNvSpPr>
            <a:spLocks noEditPoints="1"/>
          </p:cNvSpPr>
          <p:nvPr userDrawn="1"/>
        </p:nvSpPr>
        <p:spPr bwMode="auto">
          <a:xfrm>
            <a:off x="5301061" y="1777091"/>
            <a:ext cx="3844925" cy="3359150"/>
          </a:xfrm>
          <a:custGeom>
            <a:avLst/>
            <a:gdLst>
              <a:gd name="T0" fmla="*/ 0 w 21315"/>
              <a:gd name="T1" fmla="*/ 17337 h 18635"/>
              <a:gd name="T2" fmla="*/ 17337 w 21315"/>
              <a:gd name="T3" fmla="*/ 0 h 18635"/>
              <a:gd name="T4" fmla="*/ 21315 w 21315"/>
              <a:gd name="T5" fmla="*/ 0 h 18635"/>
              <a:gd name="T6" fmla="*/ 48 w 21315"/>
              <a:gd name="T7" fmla="*/ 18635 h 18635"/>
              <a:gd name="T8" fmla="*/ 0 w 21315"/>
              <a:gd name="T9" fmla="*/ 17337 h 18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315" h="18635">
                <a:moveTo>
                  <a:pt x="0" y="17337"/>
                </a:moveTo>
                <a:cubicBezTo>
                  <a:pt x="0" y="7763"/>
                  <a:pt x="7762" y="0"/>
                  <a:pt x="17337" y="0"/>
                </a:cubicBezTo>
                <a:lnTo>
                  <a:pt x="21315" y="0"/>
                </a:lnTo>
                <a:moveTo>
                  <a:pt x="48" y="18635"/>
                </a:moveTo>
                <a:cubicBezTo>
                  <a:pt x="16" y="18207"/>
                  <a:pt x="0" y="17774"/>
                  <a:pt x="0" y="17337"/>
                </a:cubicBezTo>
              </a:path>
            </a:pathLst>
          </a:custGeom>
          <a:noFill/>
          <a:ln w="12700" cap="flat">
            <a:solidFill>
              <a:srgbClr val="66C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6" name="Freeform 7"/>
          <p:cNvSpPr>
            <a:spLocks/>
          </p:cNvSpPr>
          <p:nvPr userDrawn="1"/>
        </p:nvSpPr>
        <p:spPr bwMode="auto">
          <a:xfrm>
            <a:off x="5911341" y="1594528"/>
            <a:ext cx="1428750" cy="1427163"/>
          </a:xfrm>
          <a:custGeom>
            <a:avLst/>
            <a:gdLst>
              <a:gd name="T0" fmla="*/ 0 w 7922"/>
              <a:gd name="T1" fmla="*/ 3962 h 7923"/>
              <a:gd name="T2" fmla="*/ 3961 w 7922"/>
              <a:gd name="T3" fmla="*/ 0 h 7923"/>
              <a:gd name="T4" fmla="*/ 7922 w 7922"/>
              <a:gd name="T5" fmla="*/ 0 h 7923"/>
              <a:gd name="T6" fmla="*/ 7922 w 7922"/>
              <a:gd name="T7" fmla="*/ 3962 h 7923"/>
              <a:gd name="T8" fmla="*/ 3961 w 7922"/>
              <a:gd name="T9" fmla="*/ 7923 h 7923"/>
              <a:gd name="T10" fmla="*/ 0 w 7922"/>
              <a:gd name="T11" fmla="*/ 3962 h 7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922" h="7923">
                <a:moveTo>
                  <a:pt x="0" y="3962"/>
                </a:moveTo>
                <a:cubicBezTo>
                  <a:pt x="0" y="1775"/>
                  <a:pt x="1774" y="0"/>
                  <a:pt x="3961" y="0"/>
                </a:cubicBezTo>
                <a:cubicBezTo>
                  <a:pt x="5282" y="0"/>
                  <a:pt x="6603" y="0"/>
                  <a:pt x="7922" y="0"/>
                </a:cubicBezTo>
                <a:cubicBezTo>
                  <a:pt x="7922" y="1322"/>
                  <a:pt x="7922" y="2643"/>
                  <a:pt x="7922" y="3962"/>
                </a:cubicBezTo>
                <a:cubicBezTo>
                  <a:pt x="7922" y="6151"/>
                  <a:pt x="6150" y="7923"/>
                  <a:pt x="3961" y="7923"/>
                </a:cubicBezTo>
                <a:cubicBezTo>
                  <a:pt x="1774" y="7923"/>
                  <a:pt x="0" y="6151"/>
                  <a:pt x="0" y="3962"/>
                </a:cubicBezTo>
              </a:path>
            </a:pathLst>
          </a:custGeom>
          <a:noFill/>
          <a:ln w="12700" cap="flat">
            <a:solidFill>
              <a:srgbClr val="66AADD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754384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ection Header 1 with Backgroun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727200" y="1774800"/>
            <a:ext cx="4654800" cy="1594800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</a:t>
            </a:r>
            <a:br>
              <a:rPr lang="fi-FI"/>
            </a:br>
            <a:r>
              <a:rPr lang="fi-FI"/>
              <a:t>Master title style</a:t>
            </a:r>
            <a:endParaRPr lang="fi-FI" dirty="0"/>
          </a:p>
        </p:txBody>
      </p:sp>
      <p:sp>
        <p:nvSpPr>
          <p:cNvPr id="14" name="Freeform 5"/>
          <p:cNvSpPr>
            <a:spLocks noEditPoints="1"/>
          </p:cNvSpPr>
          <p:nvPr userDrawn="1"/>
        </p:nvSpPr>
        <p:spPr bwMode="auto">
          <a:xfrm>
            <a:off x="6809186" y="229278"/>
            <a:ext cx="2336800" cy="2593975"/>
          </a:xfrm>
          <a:custGeom>
            <a:avLst/>
            <a:gdLst>
              <a:gd name="T0" fmla="*/ 0 w 12954"/>
              <a:gd name="T1" fmla="*/ 7193 h 14387"/>
              <a:gd name="T2" fmla="*/ 7193 w 12954"/>
              <a:gd name="T3" fmla="*/ 0 h 14387"/>
              <a:gd name="T4" fmla="*/ 12954 w 12954"/>
              <a:gd name="T5" fmla="*/ 0 h 14387"/>
              <a:gd name="T6" fmla="*/ 12954 w 12954"/>
              <a:gd name="T7" fmla="*/ 11503 h 14387"/>
              <a:gd name="T8" fmla="*/ 7193 w 12954"/>
              <a:gd name="T9" fmla="*/ 14387 h 14387"/>
              <a:gd name="T10" fmla="*/ 0 w 12954"/>
              <a:gd name="T11" fmla="*/ 7193 h 14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954" h="14387">
                <a:moveTo>
                  <a:pt x="0" y="7193"/>
                </a:moveTo>
                <a:cubicBezTo>
                  <a:pt x="0" y="3222"/>
                  <a:pt x="3221" y="0"/>
                  <a:pt x="7193" y="0"/>
                </a:cubicBezTo>
                <a:lnTo>
                  <a:pt x="12954" y="0"/>
                </a:lnTo>
                <a:moveTo>
                  <a:pt x="12954" y="11503"/>
                </a:moveTo>
                <a:cubicBezTo>
                  <a:pt x="11642" y="13254"/>
                  <a:pt x="9550" y="14387"/>
                  <a:pt x="7193" y="14387"/>
                </a:cubicBezTo>
                <a:cubicBezTo>
                  <a:pt x="3221" y="14387"/>
                  <a:pt x="0" y="11167"/>
                  <a:pt x="0" y="7193"/>
                </a:cubicBezTo>
              </a:path>
            </a:pathLst>
          </a:custGeom>
          <a:noFill/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5" name="Freeform 6"/>
          <p:cNvSpPr>
            <a:spLocks noEditPoints="1"/>
          </p:cNvSpPr>
          <p:nvPr userDrawn="1"/>
        </p:nvSpPr>
        <p:spPr bwMode="auto">
          <a:xfrm>
            <a:off x="5301061" y="1777091"/>
            <a:ext cx="3844925" cy="3359150"/>
          </a:xfrm>
          <a:custGeom>
            <a:avLst/>
            <a:gdLst>
              <a:gd name="T0" fmla="*/ 0 w 21315"/>
              <a:gd name="T1" fmla="*/ 17337 h 18635"/>
              <a:gd name="T2" fmla="*/ 17337 w 21315"/>
              <a:gd name="T3" fmla="*/ 0 h 18635"/>
              <a:gd name="T4" fmla="*/ 21315 w 21315"/>
              <a:gd name="T5" fmla="*/ 0 h 18635"/>
              <a:gd name="T6" fmla="*/ 48 w 21315"/>
              <a:gd name="T7" fmla="*/ 18635 h 18635"/>
              <a:gd name="T8" fmla="*/ 0 w 21315"/>
              <a:gd name="T9" fmla="*/ 17337 h 18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315" h="18635">
                <a:moveTo>
                  <a:pt x="0" y="17337"/>
                </a:moveTo>
                <a:cubicBezTo>
                  <a:pt x="0" y="7763"/>
                  <a:pt x="7762" y="0"/>
                  <a:pt x="17337" y="0"/>
                </a:cubicBezTo>
                <a:lnTo>
                  <a:pt x="21315" y="0"/>
                </a:lnTo>
                <a:moveTo>
                  <a:pt x="48" y="18635"/>
                </a:moveTo>
                <a:cubicBezTo>
                  <a:pt x="16" y="18207"/>
                  <a:pt x="0" y="17774"/>
                  <a:pt x="0" y="17337"/>
                </a:cubicBezTo>
              </a:path>
            </a:pathLst>
          </a:custGeom>
          <a:noFill/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6" name="Freeform 7"/>
          <p:cNvSpPr>
            <a:spLocks/>
          </p:cNvSpPr>
          <p:nvPr userDrawn="1"/>
        </p:nvSpPr>
        <p:spPr bwMode="auto">
          <a:xfrm>
            <a:off x="5911341" y="1594528"/>
            <a:ext cx="1428750" cy="1427163"/>
          </a:xfrm>
          <a:custGeom>
            <a:avLst/>
            <a:gdLst>
              <a:gd name="T0" fmla="*/ 0 w 7922"/>
              <a:gd name="T1" fmla="*/ 3962 h 7923"/>
              <a:gd name="T2" fmla="*/ 3961 w 7922"/>
              <a:gd name="T3" fmla="*/ 0 h 7923"/>
              <a:gd name="T4" fmla="*/ 7922 w 7922"/>
              <a:gd name="T5" fmla="*/ 0 h 7923"/>
              <a:gd name="T6" fmla="*/ 7922 w 7922"/>
              <a:gd name="T7" fmla="*/ 3962 h 7923"/>
              <a:gd name="T8" fmla="*/ 3961 w 7922"/>
              <a:gd name="T9" fmla="*/ 7923 h 7923"/>
              <a:gd name="T10" fmla="*/ 0 w 7922"/>
              <a:gd name="T11" fmla="*/ 3962 h 7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922" h="7923">
                <a:moveTo>
                  <a:pt x="0" y="3962"/>
                </a:moveTo>
                <a:cubicBezTo>
                  <a:pt x="0" y="1775"/>
                  <a:pt x="1774" y="0"/>
                  <a:pt x="3961" y="0"/>
                </a:cubicBezTo>
                <a:cubicBezTo>
                  <a:pt x="5282" y="0"/>
                  <a:pt x="6603" y="0"/>
                  <a:pt x="7922" y="0"/>
                </a:cubicBezTo>
                <a:cubicBezTo>
                  <a:pt x="7922" y="1322"/>
                  <a:pt x="7922" y="2643"/>
                  <a:pt x="7922" y="3962"/>
                </a:cubicBezTo>
                <a:cubicBezTo>
                  <a:pt x="7922" y="6151"/>
                  <a:pt x="6150" y="7923"/>
                  <a:pt x="3961" y="7923"/>
                </a:cubicBezTo>
                <a:cubicBezTo>
                  <a:pt x="1774" y="7923"/>
                  <a:pt x="0" y="6151"/>
                  <a:pt x="0" y="3962"/>
                </a:cubicBezTo>
              </a:path>
            </a:pathLst>
          </a:custGeom>
          <a:noFill/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Ryhmä 8"/>
          <p:cNvGrpSpPr/>
          <p:nvPr userDrawn="1"/>
        </p:nvGrpSpPr>
        <p:grpSpPr bwMode="black">
          <a:xfrm>
            <a:off x="8034273" y="4831556"/>
            <a:ext cx="869375" cy="145200"/>
            <a:chOff x="1170790" y="2446391"/>
            <a:chExt cx="6636576" cy="1108419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black">
            <a:xfrm>
              <a:off x="6555303" y="2446391"/>
              <a:ext cx="1252063" cy="1099843"/>
            </a:xfrm>
            <a:custGeom>
              <a:avLst/>
              <a:gdLst>
                <a:gd name="T0" fmla="*/ 1029 w 5148"/>
                <a:gd name="T1" fmla="*/ 2797 h 4505"/>
                <a:gd name="T2" fmla="*/ 1029 w 5148"/>
                <a:gd name="T3" fmla="*/ 2797 h 4505"/>
                <a:gd name="T4" fmla="*/ 1131 w 5148"/>
                <a:gd name="T5" fmla="*/ 2699 h 4505"/>
                <a:gd name="T6" fmla="*/ 3810 w 5148"/>
                <a:gd name="T7" fmla="*/ 2699 h 4505"/>
                <a:gd name="T8" fmla="*/ 4255 w 5148"/>
                <a:gd name="T9" fmla="*/ 2251 h 4505"/>
                <a:gd name="T10" fmla="*/ 3810 w 5148"/>
                <a:gd name="T11" fmla="*/ 1806 h 4505"/>
                <a:gd name="T12" fmla="*/ 1131 w 5148"/>
                <a:gd name="T13" fmla="*/ 1806 h 4505"/>
                <a:gd name="T14" fmla="*/ 1029 w 5148"/>
                <a:gd name="T15" fmla="*/ 1709 h 4505"/>
                <a:gd name="T16" fmla="*/ 1029 w 5148"/>
                <a:gd name="T17" fmla="*/ 1443 h 4505"/>
                <a:gd name="T18" fmla="*/ 1513 w 5148"/>
                <a:gd name="T19" fmla="*/ 960 h 4505"/>
                <a:gd name="T20" fmla="*/ 4664 w 5148"/>
                <a:gd name="T21" fmla="*/ 960 h 4505"/>
                <a:gd name="T22" fmla="*/ 5148 w 5148"/>
                <a:gd name="T23" fmla="*/ 480 h 4505"/>
                <a:gd name="T24" fmla="*/ 4664 w 5148"/>
                <a:gd name="T25" fmla="*/ 0 h 4505"/>
                <a:gd name="T26" fmla="*/ 1322 w 5148"/>
                <a:gd name="T27" fmla="*/ 0 h 4505"/>
                <a:gd name="T28" fmla="*/ 0 w 5148"/>
                <a:gd name="T29" fmla="*/ 1322 h 4505"/>
                <a:gd name="T30" fmla="*/ 0 w 5148"/>
                <a:gd name="T31" fmla="*/ 3187 h 4505"/>
                <a:gd name="T32" fmla="*/ 1322 w 5148"/>
                <a:gd name="T33" fmla="*/ 4505 h 4505"/>
                <a:gd name="T34" fmla="*/ 4664 w 5148"/>
                <a:gd name="T35" fmla="*/ 4505 h 4505"/>
                <a:gd name="T36" fmla="*/ 5148 w 5148"/>
                <a:gd name="T37" fmla="*/ 4025 h 4505"/>
                <a:gd name="T38" fmla="*/ 4664 w 5148"/>
                <a:gd name="T39" fmla="*/ 3546 h 4505"/>
                <a:gd name="T40" fmla="*/ 1513 w 5148"/>
                <a:gd name="T41" fmla="*/ 3546 h 4505"/>
                <a:gd name="T42" fmla="*/ 1029 w 5148"/>
                <a:gd name="T43" fmla="*/ 3062 h 4505"/>
                <a:gd name="T44" fmla="*/ 1029 w 5148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8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31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6" y="1806"/>
                    <a:pt x="3810" y="1806"/>
                  </a:cubicBezTo>
                  <a:lnTo>
                    <a:pt x="1131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4"/>
                    <a:pt x="1244" y="960"/>
                    <a:pt x="1513" y="960"/>
                  </a:cubicBezTo>
                  <a:lnTo>
                    <a:pt x="4664" y="960"/>
                  </a:lnTo>
                  <a:cubicBezTo>
                    <a:pt x="4929" y="960"/>
                    <a:pt x="5148" y="745"/>
                    <a:pt x="5148" y="480"/>
                  </a:cubicBezTo>
                  <a:cubicBezTo>
                    <a:pt x="5148" y="215"/>
                    <a:pt x="4929" y="0"/>
                    <a:pt x="4664" y="0"/>
                  </a:cubicBezTo>
                  <a:lnTo>
                    <a:pt x="1322" y="0"/>
                  </a:lnTo>
                  <a:cubicBezTo>
                    <a:pt x="593" y="4"/>
                    <a:pt x="0" y="593"/>
                    <a:pt x="0" y="1322"/>
                  </a:cubicBezTo>
                  <a:lnTo>
                    <a:pt x="0" y="3187"/>
                  </a:lnTo>
                  <a:cubicBezTo>
                    <a:pt x="0" y="3912"/>
                    <a:pt x="593" y="4501"/>
                    <a:pt x="1322" y="4505"/>
                  </a:cubicBezTo>
                  <a:lnTo>
                    <a:pt x="4664" y="4505"/>
                  </a:lnTo>
                  <a:cubicBezTo>
                    <a:pt x="4929" y="4505"/>
                    <a:pt x="5148" y="4291"/>
                    <a:pt x="5148" y="4025"/>
                  </a:cubicBezTo>
                  <a:cubicBezTo>
                    <a:pt x="5148" y="3760"/>
                    <a:pt x="4929" y="3546"/>
                    <a:pt x="4664" y="3546"/>
                  </a:cubicBezTo>
                  <a:lnTo>
                    <a:pt x="1513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black">
            <a:xfrm>
              <a:off x="3875374" y="2446391"/>
              <a:ext cx="1275646" cy="1099843"/>
            </a:xfrm>
            <a:custGeom>
              <a:avLst/>
              <a:gdLst>
                <a:gd name="T0" fmla="*/ 4158 w 5245"/>
                <a:gd name="T1" fmla="*/ 3304 h 4505"/>
                <a:gd name="T2" fmla="*/ 4158 w 5245"/>
                <a:gd name="T3" fmla="*/ 3304 h 4505"/>
                <a:gd name="T4" fmla="*/ 4240 w 5245"/>
                <a:gd name="T5" fmla="*/ 3421 h 4505"/>
                <a:gd name="T6" fmla="*/ 4115 w 5245"/>
                <a:gd name="T7" fmla="*/ 3546 h 4505"/>
                <a:gd name="T8" fmla="*/ 671 w 5245"/>
                <a:gd name="T9" fmla="*/ 3546 h 4505"/>
                <a:gd name="T10" fmla="*/ 187 w 5245"/>
                <a:gd name="T11" fmla="*/ 4025 h 4505"/>
                <a:gd name="T12" fmla="*/ 671 w 5245"/>
                <a:gd name="T13" fmla="*/ 4505 h 4505"/>
                <a:gd name="T14" fmla="*/ 4169 w 5245"/>
                <a:gd name="T15" fmla="*/ 4505 h 4505"/>
                <a:gd name="T16" fmla="*/ 5245 w 5245"/>
                <a:gd name="T17" fmla="*/ 3428 h 4505"/>
                <a:gd name="T18" fmla="*/ 4540 w 5245"/>
                <a:gd name="T19" fmla="*/ 2418 h 4505"/>
                <a:gd name="T20" fmla="*/ 1092 w 5245"/>
                <a:gd name="T21" fmla="*/ 1201 h 4505"/>
                <a:gd name="T22" fmla="*/ 1010 w 5245"/>
                <a:gd name="T23" fmla="*/ 1084 h 4505"/>
                <a:gd name="T24" fmla="*/ 1131 w 5245"/>
                <a:gd name="T25" fmla="*/ 960 h 4505"/>
                <a:gd name="T26" fmla="*/ 4575 w 5245"/>
                <a:gd name="T27" fmla="*/ 960 h 4505"/>
                <a:gd name="T28" fmla="*/ 5054 w 5245"/>
                <a:gd name="T29" fmla="*/ 480 h 4505"/>
                <a:gd name="T30" fmla="*/ 4575 w 5245"/>
                <a:gd name="T31" fmla="*/ 0 h 4505"/>
                <a:gd name="T32" fmla="*/ 1072 w 5245"/>
                <a:gd name="T33" fmla="*/ 0 h 4505"/>
                <a:gd name="T34" fmla="*/ 0 w 5245"/>
                <a:gd name="T35" fmla="*/ 1077 h 4505"/>
                <a:gd name="T36" fmla="*/ 667 w 5245"/>
                <a:gd name="T37" fmla="*/ 2071 h 4505"/>
                <a:gd name="T38" fmla="*/ 4158 w 5245"/>
                <a:gd name="T39" fmla="*/ 3304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45" h="4505">
                  <a:moveTo>
                    <a:pt x="4158" y="3304"/>
                  </a:moveTo>
                  <a:lnTo>
                    <a:pt x="4158" y="3304"/>
                  </a:lnTo>
                  <a:cubicBezTo>
                    <a:pt x="4201" y="3323"/>
                    <a:pt x="4240" y="3366"/>
                    <a:pt x="4240" y="3421"/>
                  </a:cubicBezTo>
                  <a:cubicBezTo>
                    <a:pt x="4240" y="3487"/>
                    <a:pt x="4181" y="3546"/>
                    <a:pt x="4115" y="3546"/>
                  </a:cubicBezTo>
                  <a:lnTo>
                    <a:pt x="671" y="3546"/>
                  </a:lnTo>
                  <a:cubicBezTo>
                    <a:pt x="402" y="3546"/>
                    <a:pt x="187" y="3760"/>
                    <a:pt x="187" y="4025"/>
                  </a:cubicBezTo>
                  <a:cubicBezTo>
                    <a:pt x="187" y="4291"/>
                    <a:pt x="406" y="4505"/>
                    <a:pt x="671" y="4505"/>
                  </a:cubicBezTo>
                  <a:lnTo>
                    <a:pt x="4169" y="4505"/>
                  </a:lnTo>
                  <a:cubicBezTo>
                    <a:pt x="4758" y="4505"/>
                    <a:pt x="5245" y="4021"/>
                    <a:pt x="5245" y="3428"/>
                  </a:cubicBezTo>
                  <a:cubicBezTo>
                    <a:pt x="5245" y="2964"/>
                    <a:pt x="4949" y="2570"/>
                    <a:pt x="4540" y="2418"/>
                  </a:cubicBezTo>
                  <a:lnTo>
                    <a:pt x="1092" y="1201"/>
                  </a:lnTo>
                  <a:cubicBezTo>
                    <a:pt x="1045" y="1186"/>
                    <a:pt x="1010" y="1139"/>
                    <a:pt x="1010" y="1084"/>
                  </a:cubicBezTo>
                  <a:cubicBezTo>
                    <a:pt x="1010" y="1018"/>
                    <a:pt x="1061" y="960"/>
                    <a:pt x="1131" y="960"/>
                  </a:cubicBezTo>
                  <a:lnTo>
                    <a:pt x="4575" y="960"/>
                  </a:lnTo>
                  <a:cubicBezTo>
                    <a:pt x="4840" y="960"/>
                    <a:pt x="5054" y="745"/>
                    <a:pt x="5054" y="480"/>
                  </a:cubicBezTo>
                  <a:cubicBezTo>
                    <a:pt x="5054" y="215"/>
                    <a:pt x="4836" y="0"/>
                    <a:pt x="4575" y="0"/>
                  </a:cubicBezTo>
                  <a:lnTo>
                    <a:pt x="1072" y="0"/>
                  </a:lnTo>
                  <a:cubicBezTo>
                    <a:pt x="476" y="0"/>
                    <a:pt x="0" y="484"/>
                    <a:pt x="0" y="1077"/>
                  </a:cubicBezTo>
                  <a:cubicBezTo>
                    <a:pt x="0" y="1525"/>
                    <a:pt x="277" y="1911"/>
                    <a:pt x="667" y="2071"/>
                  </a:cubicBezTo>
                  <a:lnTo>
                    <a:pt x="4158" y="3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black">
            <a:xfrm>
              <a:off x="5196043" y="2446391"/>
              <a:ext cx="1321741" cy="1108419"/>
            </a:xfrm>
            <a:custGeom>
              <a:avLst/>
              <a:gdLst>
                <a:gd name="T0" fmla="*/ 2196 w 5433"/>
                <a:gd name="T1" fmla="*/ 4025 h 4540"/>
                <a:gd name="T2" fmla="*/ 2196 w 5433"/>
                <a:gd name="T3" fmla="*/ 4025 h 4540"/>
                <a:gd name="T4" fmla="*/ 2710 w 5433"/>
                <a:gd name="T5" fmla="*/ 4540 h 4540"/>
                <a:gd name="T6" fmla="*/ 3225 w 5433"/>
                <a:gd name="T7" fmla="*/ 4025 h 4540"/>
                <a:gd name="T8" fmla="*/ 3225 w 5433"/>
                <a:gd name="T9" fmla="*/ 1061 h 4540"/>
                <a:gd name="T10" fmla="*/ 3327 w 5433"/>
                <a:gd name="T11" fmla="*/ 960 h 4540"/>
                <a:gd name="T12" fmla="*/ 4953 w 5433"/>
                <a:gd name="T13" fmla="*/ 960 h 4540"/>
                <a:gd name="T14" fmla="*/ 5433 w 5433"/>
                <a:gd name="T15" fmla="*/ 480 h 4540"/>
                <a:gd name="T16" fmla="*/ 4953 w 5433"/>
                <a:gd name="T17" fmla="*/ 0 h 4540"/>
                <a:gd name="T18" fmla="*/ 479 w 5433"/>
                <a:gd name="T19" fmla="*/ 0 h 4540"/>
                <a:gd name="T20" fmla="*/ 0 w 5433"/>
                <a:gd name="T21" fmla="*/ 480 h 4540"/>
                <a:gd name="T22" fmla="*/ 479 w 5433"/>
                <a:gd name="T23" fmla="*/ 960 h 4540"/>
                <a:gd name="T24" fmla="*/ 2098 w 5433"/>
                <a:gd name="T25" fmla="*/ 960 h 4540"/>
                <a:gd name="T26" fmla="*/ 2196 w 5433"/>
                <a:gd name="T27" fmla="*/ 1061 h 4540"/>
                <a:gd name="T28" fmla="*/ 2196 w 5433"/>
                <a:gd name="T29" fmla="*/ 4025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33" h="4540">
                  <a:moveTo>
                    <a:pt x="2196" y="4025"/>
                  </a:moveTo>
                  <a:lnTo>
                    <a:pt x="2196" y="4025"/>
                  </a:lnTo>
                  <a:cubicBezTo>
                    <a:pt x="2192" y="4310"/>
                    <a:pt x="2426" y="4540"/>
                    <a:pt x="2710" y="4540"/>
                  </a:cubicBezTo>
                  <a:cubicBezTo>
                    <a:pt x="2995" y="4540"/>
                    <a:pt x="3225" y="4310"/>
                    <a:pt x="3225" y="4025"/>
                  </a:cubicBezTo>
                  <a:lnTo>
                    <a:pt x="3225" y="1061"/>
                  </a:lnTo>
                  <a:cubicBezTo>
                    <a:pt x="3225" y="1003"/>
                    <a:pt x="3272" y="960"/>
                    <a:pt x="3327" y="960"/>
                  </a:cubicBezTo>
                  <a:lnTo>
                    <a:pt x="4953" y="960"/>
                  </a:lnTo>
                  <a:cubicBezTo>
                    <a:pt x="5218" y="960"/>
                    <a:pt x="5433" y="745"/>
                    <a:pt x="5433" y="480"/>
                  </a:cubicBezTo>
                  <a:cubicBezTo>
                    <a:pt x="5433" y="215"/>
                    <a:pt x="5214" y="0"/>
                    <a:pt x="4953" y="0"/>
                  </a:cubicBezTo>
                  <a:lnTo>
                    <a:pt x="479" y="0"/>
                  </a:lnTo>
                  <a:cubicBezTo>
                    <a:pt x="214" y="0"/>
                    <a:pt x="0" y="215"/>
                    <a:pt x="0" y="480"/>
                  </a:cubicBezTo>
                  <a:cubicBezTo>
                    <a:pt x="0" y="745"/>
                    <a:pt x="214" y="960"/>
                    <a:pt x="479" y="960"/>
                  </a:cubicBezTo>
                  <a:lnTo>
                    <a:pt x="2098" y="960"/>
                  </a:lnTo>
                  <a:cubicBezTo>
                    <a:pt x="2153" y="960"/>
                    <a:pt x="2196" y="1003"/>
                    <a:pt x="2196" y="1061"/>
                  </a:cubicBezTo>
                  <a:lnTo>
                    <a:pt x="2196" y="40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black">
            <a:xfrm>
              <a:off x="2550417" y="2446391"/>
              <a:ext cx="1250991" cy="1099843"/>
            </a:xfrm>
            <a:custGeom>
              <a:avLst/>
              <a:gdLst>
                <a:gd name="T0" fmla="*/ 1029 w 5144"/>
                <a:gd name="T1" fmla="*/ 2797 h 4505"/>
                <a:gd name="T2" fmla="*/ 1029 w 5144"/>
                <a:gd name="T3" fmla="*/ 2797 h 4505"/>
                <a:gd name="T4" fmla="*/ 1127 w 5144"/>
                <a:gd name="T5" fmla="*/ 2699 h 4505"/>
                <a:gd name="T6" fmla="*/ 3810 w 5144"/>
                <a:gd name="T7" fmla="*/ 2699 h 4505"/>
                <a:gd name="T8" fmla="*/ 4255 w 5144"/>
                <a:gd name="T9" fmla="*/ 2251 h 4505"/>
                <a:gd name="T10" fmla="*/ 3810 w 5144"/>
                <a:gd name="T11" fmla="*/ 1806 h 4505"/>
                <a:gd name="T12" fmla="*/ 1127 w 5144"/>
                <a:gd name="T13" fmla="*/ 1806 h 4505"/>
                <a:gd name="T14" fmla="*/ 1029 w 5144"/>
                <a:gd name="T15" fmla="*/ 1709 h 4505"/>
                <a:gd name="T16" fmla="*/ 1029 w 5144"/>
                <a:gd name="T17" fmla="*/ 1443 h 4505"/>
                <a:gd name="T18" fmla="*/ 1509 w 5144"/>
                <a:gd name="T19" fmla="*/ 960 h 4505"/>
                <a:gd name="T20" fmla="*/ 4664 w 5144"/>
                <a:gd name="T21" fmla="*/ 960 h 4505"/>
                <a:gd name="T22" fmla="*/ 5144 w 5144"/>
                <a:gd name="T23" fmla="*/ 480 h 4505"/>
                <a:gd name="T24" fmla="*/ 4664 w 5144"/>
                <a:gd name="T25" fmla="*/ 0 h 4505"/>
                <a:gd name="T26" fmla="*/ 1318 w 5144"/>
                <a:gd name="T27" fmla="*/ 0 h 4505"/>
                <a:gd name="T28" fmla="*/ 0 w 5144"/>
                <a:gd name="T29" fmla="*/ 1318 h 4505"/>
                <a:gd name="T30" fmla="*/ 0 w 5144"/>
                <a:gd name="T31" fmla="*/ 3187 h 4505"/>
                <a:gd name="T32" fmla="*/ 1318 w 5144"/>
                <a:gd name="T33" fmla="*/ 4505 h 4505"/>
                <a:gd name="T34" fmla="*/ 4664 w 5144"/>
                <a:gd name="T35" fmla="*/ 4505 h 4505"/>
                <a:gd name="T36" fmla="*/ 5144 w 5144"/>
                <a:gd name="T37" fmla="*/ 4025 h 4505"/>
                <a:gd name="T38" fmla="*/ 4664 w 5144"/>
                <a:gd name="T39" fmla="*/ 3546 h 4505"/>
                <a:gd name="T40" fmla="*/ 1509 w 5144"/>
                <a:gd name="T41" fmla="*/ 3546 h 4505"/>
                <a:gd name="T42" fmla="*/ 1029 w 5144"/>
                <a:gd name="T43" fmla="*/ 3062 h 4505"/>
                <a:gd name="T44" fmla="*/ 1029 w 5144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4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27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2" y="1806"/>
                    <a:pt x="3810" y="1806"/>
                  </a:cubicBezTo>
                  <a:lnTo>
                    <a:pt x="1127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8"/>
                    <a:pt x="1244" y="960"/>
                    <a:pt x="1509" y="960"/>
                  </a:cubicBezTo>
                  <a:lnTo>
                    <a:pt x="4664" y="960"/>
                  </a:lnTo>
                  <a:cubicBezTo>
                    <a:pt x="4929" y="960"/>
                    <a:pt x="5144" y="745"/>
                    <a:pt x="5144" y="480"/>
                  </a:cubicBezTo>
                  <a:cubicBezTo>
                    <a:pt x="5144" y="215"/>
                    <a:pt x="4929" y="0"/>
                    <a:pt x="4664" y="0"/>
                  </a:cubicBezTo>
                  <a:lnTo>
                    <a:pt x="1318" y="0"/>
                  </a:lnTo>
                  <a:cubicBezTo>
                    <a:pt x="588" y="4"/>
                    <a:pt x="0" y="593"/>
                    <a:pt x="0" y="1318"/>
                  </a:cubicBezTo>
                  <a:lnTo>
                    <a:pt x="0" y="3187"/>
                  </a:lnTo>
                  <a:cubicBezTo>
                    <a:pt x="0" y="3916"/>
                    <a:pt x="588" y="4501"/>
                    <a:pt x="1318" y="4505"/>
                  </a:cubicBezTo>
                  <a:lnTo>
                    <a:pt x="4664" y="4505"/>
                  </a:lnTo>
                  <a:cubicBezTo>
                    <a:pt x="4929" y="4505"/>
                    <a:pt x="5144" y="4291"/>
                    <a:pt x="5144" y="4025"/>
                  </a:cubicBezTo>
                  <a:cubicBezTo>
                    <a:pt x="5144" y="3760"/>
                    <a:pt x="4929" y="3546"/>
                    <a:pt x="4664" y="3546"/>
                  </a:cubicBezTo>
                  <a:lnTo>
                    <a:pt x="1509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black">
            <a:xfrm>
              <a:off x="1170790" y="2446391"/>
              <a:ext cx="1253135" cy="1108419"/>
            </a:xfrm>
            <a:custGeom>
              <a:avLst/>
              <a:gdLst>
                <a:gd name="T0" fmla="*/ 98 w 5152"/>
                <a:gd name="T1" fmla="*/ 0 h 4540"/>
                <a:gd name="T2" fmla="*/ 3834 w 5152"/>
                <a:gd name="T3" fmla="*/ 0 h 4540"/>
                <a:gd name="T4" fmla="*/ 5152 w 5152"/>
                <a:gd name="T5" fmla="*/ 1318 h 4540"/>
                <a:gd name="T6" fmla="*/ 5152 w 5152"/>
                <a:gd name="T7" fmla="*/ 4025 h 4540"/>
                <a:gd name="T8" fmla="*/ 4637 w 5152"/>
                <a:gd name="T9" fmla="*/ 4540 h 4540"/>
                <a:gd name="T10" fmla="*/ 4122 w 5152"/>
                <a:gd name="T11" fmla="*/ 4025 h 4540"/>
                <a:gd name="T12" fmla="*/ 4122 w 5152"/>
                <a:gd name="T13" fmla="*/ 1443 h 4540"/>
                <a:gd name="T14" fmla="*/ 3643 w 5152"/>
                <a:gd name="T15" fmla="*/ 960 h 4540"/>
                <a:gd name="T16" fmla="*/ 1131 w 5152"/>
                <a:gd name="T17" fmla="*/ 960 h 4540"/>
                <a:gd name="T18" fmla="*/ 1034 w 5152"/>
                <a:gd name="T19" fmla="*/ 1061 h 4540"/>
                <a:gd name="T20" fmla="*/ 1034 w 5152"/>
                <a:gd name="T21" fmla="*/ 4025 h 4540"/>
                <a:gd name="T22" fmla="*/ 515 w 5152"/>
                <a:gd name="T23" fmla="*/ 4540 h 4540"/>
                <a:gd name="T24" fmla="*/ 0 w 5152"/>
                <a:gd name="T25" fmla="*/ 4025 h 4540"/>
                <a:gd name="T26" fmla="*/ 0 w 5152"/>
                <a:gd name="T27" fmla="*/ 98 h 4540"/>
                <a:gd name="T28" fmla="*/ 98 w 5152"/>
                <a:gd name="T29" fmla="*/ 0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2" h="4540">
                  <a:moveTo>
                    <a:pt x="98" y="0"/>
                  </a:moveTo>
                  <a:lnTo>
                    <a:pt x="3834" y="0"/>
                  </a:lnTo>
                  <a:cubicBezTo>
                    <a:pt x="4563" y="0"/>
                    <a:pt x="5152" y="593"/>
                    <a:pt x="5152" y="1318"/>
                  </a:cubicBezTo>
                  <a:lnTo>
                    <a:pt x="5152" y="4025"/>
                  </a:lnTo>
                  <a:cubicBezTo>
                    <a:pt x="5152" y="4310"/>
                    <a:pt x="4922" y="4540"/>
                    <a:pt x="4637" y="4540"/>
                  </a:cubicBezTo>
                  <a:cubicBezTo>
                    <a:pt x="4353" y="4540"/>
                    <a:pt x="4119" y="4310"/>
                    <a:pt x="4122" y="4025"/>
                  </a:cubicBezTo>
                  <a:lnTo>
                    <a:pt x="4122" y="1443"/>
                  </a:lnTo>
                  <a:cubicBezTo>
                    <a:pt x="4119" y="1178"/>
                    <a:pt x="3908" y="960"/>
                    <a:pt x="3643" y="960"/>
                  </a:cubicBezTo>
                  <a:lnTo>
                    <a:pt x="1131" y="960"/>
                  </a:lnTo>
                  <a:cubicBezTo>
                    <a:pt x="1077" y="960"/>
                    <a:pt x="1030" y="1006"/>
                    <a:pt x="1034" y="1061"/>
                  </a:cubicBezTo>
                  <a:lnTo>
                    <a:pt x="1034" y="4025"/>
                  </a:lnTo>
                  <a:cubicBezTo>
                    <a:pt x="1034" y="4310"/>
                    <a:pt x="800" y="4540"/>
                    <a:pt x="515" y="4540"/>
                  </a:cubicBezTo>
                  <a:cubicBezTo>
                    <a:pt x="230" y="4540"/>
                    <a:pt x="0" y="4310"/>
                    <a:pt x="0" y="4025"/>
                  </a:cubicBezTo>
                  <a:lnTo>
                    <a:pt x="0" y="98"/>
                  </a:lnTo>
                  <a:cubicBezTo>
                    <a:pt x="0" y="43"/>
                    <a:pt x="47" y="0"/>
                    <a:pt x="9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0674947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ardrop 8"/>
          <p:cNvSpPr/>
          <p:nvPr userDrawn="1"/>
        </p:nvSpPr>
        <p:spPr>
          <a:xfrm>
            <a:off x="6261444" y="749143"/>
            <a:ext cx="2619790" cy="2619790"/>
          </a:xfrm>
          <a:prstGeom prst="teardrop">
            <a:avLst/>
          </a:prstGeom>
          <a:noFill/>
          <a:ln w="12700" cmpd="sng">
            <a:solidFill>
              <a:srgbClr val="66AAD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727200" y="1774800"/>
            <a:ext cx="4654800" cy="1594800"/>
          </a:xfrm>
        </p:spPr>
        <p:txBody>
          <a:bodyPr>
            <a:normAutofit/>
          </a:bodyPr>
          <a:lstStyle>
            <a:lvl1pPr>
              <a:defRPr sz="3200">
                <a:solidFill>
                  <a:srgbClr val="001177"/>
                </a:solidFill>
              </a:defRPr>
            </a:lvl1pPr>
          </a:lstStyle>
          <a:p>
            <a:r>
              <a:rPr lang="fi-FI"/>
              <a:t>Click to edit</a:t>
            </a:r>
            <a:br>
              <a:rPr lang="fi-FI"/>
            </a:br>
            <a:r>
              <a:rPr lang="fi-FI"/>
              <a:t>Master title style</a:t>
            </a:r>
            <a:endParaRPr lang="fi-FI" dirty="0"/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4748213" y="0"/>
            <a:ext cx="4387850" cy="2968625"/>
          </a:xfrm>
          <a:custGeom>
            <a:avLst/>
            <a:gdLst>
              <a:gd name="T0" fmla="*/ 12149 w 12149"/>
              <a:gd name="T1" fmla="*/ 8109 h 8213"/>
              <a:gd name="T2" fmla="*/ 10638 w 12149"/>
              <a:gd name="T3" fmla="*/ 8213 h 8213"/>
              <a:gd name="T4" fmla="*/ 0 w 12149"/>
              <a:gd name="T5" fmla="*/ 0 h 8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2149" h="8213">
                <a:moveTo>
                  <a:pt x="12149" y="8109"/>
                </a:moveTo>
                <a:cubicBezTo>
                  <a:pt x="11655" y="8177"/>
                  <a:pt x="11151" y="8213"/>
                  <a:pt x="10638" y="8213"/>
                </a:cubicBezTo>
                <a:cubicBezTo>
                  <a:pt x="5527" y="8213"/>
                  <a:pt x="1231" y="4726"/>
                  <a:pt x="0" y="0"/>
                </a:cubicBezTo>
              </a:path>
            </a:pathLst>
          </a:custGeom>
          <a:noFill/>
          <a:ln w="12700" cap="flat">
            <a:solidFill>
              <a:srgbClr val="66C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8" name="Freeform 6"/>
          <p:cNvSpPr>
            <a:spLocks noEditPoints="1"/>
          </p:cNvSpPr>
          <p:nvPr userDrawn="1"/>
        </p:nvSpPr>
        <p:spPr bwMode="auto">
          <a:xfrm>
            <a:off x="7993063" y="2063750"/>
            <a:ext cx="1143000" cy="1433513"/>
          </a:xfrm>
          <a:custGeom>
            <a:avLst/>
            <a:gdLst>
              <a:gd name="T0" fmla="*/ 0 w 3166"/>
              <a:gd name="T1" fmla="*/ 1981 h 3963"/>
              <a:gd name="T2" fmla="*/ 1982 w 3166"/>
              <a:gd name="T3" fmla="*/ 0 h 3963"/>
              <a:gd name="T4" fmla="*/ 3166 w 3166"/>
              <a:gd name="T5" fmla="*/ 0 h 3963"/>
              <a:gd name="T6" fmla="*/ 3166 w 3166"/>
              <a:gd name="T7" fmla="*/ 3570 h 3963"/>
              <a:gd name="T8" fmla="*/ 1982 w 3166"/>
              <a:gd name="T9" fmla="*/ 3963 h 3963"/>
              <a:gd name="T10" fmla="*/ 0 w 3166"/>
              <a:gd name="T11" fmla="*/ 1981 h 39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66" h="3963">
                <a:moveTo>
                  <a:pt x="0" y="1981"/>
                </a:moveTo>
                <a:cubicBezTo>
                  <a:pt x="0" y="887"/>
                  <a:pt x="888" y="0"/>
                  <a:pt x="1982" y="0"/>
                </a:cubicBezTo>
                <a:lnTo>
                  <a:pt x="3166" y="0"/>
                </a:lnTo>
                <a:moveTo>
                  <a:pt x="3166" y="3570"/>
                </a:moveTo>
                <a:cubicBezTo>
                  <a:pt x="2836" y="3817"/>
                  <a:pt x="2426" y="3963"/>
                  <a:pt x="1982" y="3963"/>
                </a:cubicBezTo>
                <a:cubicBezTo>
                  <a:pt x="888" y="3963"/>
                  <a:pt x="0" y="3076"/>
                  <a:pt x="0" y="1981"/>
                </a:cubicBezTo>
              </a:path>
            </a:pathLst>
          </a:custGeom>
          <a:noFill/>
          <a:ln w="12700" cap="flat">
            <a:solidFill>
              <a:srgbClr val="66AADD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755662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ackgroun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Ryhmä 12"/>
          <p:cNvGrpSpPr/>
          <p:nvPr userDrawn="1"/>
        </p:nvGrpSpPr>
        <p:grpSpPr>
          <a:xfrm>
            <a:off x="135695" y="2338"/>
            <a:ext cx="9005689" cy="5149755"/>
            <a:chOff x="128438" y="9595"/>
            <a:chExt cx="9005689" cy="5149755"/>
          </a:xfrm>
        </p:grpSpPr>
        <p:sp>
          <p:nvSpPr>
            <p:cNvPr id="14" name="Freeform 5"/>
            <p:cNvSpPr>
              <a:spLocks noEditPoints="1"/>
            </p:cNvSpPr>
            <p:nvPr userDrawn="1"/>
          </p:nvSpPr>
          <p:spPr bwMode="auto">
            <a:xfrm>
              <a:off x="4821926" y="315900"/>
              <a:ext cx="4312201" cy="4503643"/>
            </a:xfrm>
            <a:custGeom>
              <a:avLst/>
              <a:gdLst>
                <a:gd name="T0" fmla="*/ 0 w 11899"/>
                <a:gd name="T1" fmla="*/ 6212 h 12425"/>
                <a:gd name="T2" fmla="*/ 6214 w 11899"/>
                <a:gd name="T3" fmla="*/ 0 h 12425"/>
                <a:gd name="T4" fmla="*/ 11899 w 11899"/>
                <a:gd name="T5" fmla="*/ 0 h 12425"/>
                <a:gd name="T6" fmla="*/ 11899 w 11899"/>
                <a:gd name="T7" fmla="*/ 8727 h 12425"/>
                <a:gd name="T8" fmla="*/ 6214 w 11899"/>
                <a:gd name="T9" fmla="*/ 12425 h 12425"/>
                <a:gd name="T10" fmla="*/ 0 w 11899"/>
                <a:gd name="T11" fmla="*/ 6212 h 12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99" h="12425">
                  <a:moveTo>
                    <a:pt x="0" y="6212"/>
                  </a:moveTo>
                  <a:cubicBezTo>
                    <a:pt x="0" y="2782"/>
                    <a:pt x="2783" y="0"/>
                    <a:pt x="6214" y="0"/>
                  </a:cubicBezTo>
                  <a:lnTo>
                    <a:pt x="11899" y="0"/>
                  </a:lnTo>
                  <a:moveTo>
                    <a:pt x="11899" y="8727"/>
                  </a:moveTo>
                  <a:cubicBezTo>
                    <a:pt x="10933" y="10905"/>
                    <a:pt x="8752" y="12425"/>
                    <a:pt x="6214" y="12425"/>
                  </a:cubicBezTo>
                  <a:cubicBezTo>
                    <a:pt x="2783" y="12425"/>
                    <a:pt x="0" y="9644"/>
                    <a:pt x="0" y="6212"/>
                  </a:cubicBezTo>
                </a:path>
              </a:pathLst>
            </a:custGeom>
            <a:noFill/>
            <a:ln w="1270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128438" y="2870038"/>
              <a:ext cx="737047" cy="2289312"/>
            </a:xfrm>
            <a:custGeom>
              <a:avLst/>
              <a:gdLst>
                <a:gd name="T0" fmla="*/ 2037 w 2037"/>
                <a:gd name="T1" fmla="*/ 6314 h 6314"/>
                <a:gd name="T2" fmla="*/ 0 w 2037"/>
                <a:gd name="T3" fmla="*/ 0 h 6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037" h="6314">
                  <a:moveTo>
                    <a:pt x="2037" y="6314"/>
                  </a:moveTo>
                  <a:cubicBezTo>
                    <a:pt x="756" y="4538"/>
                    <a:pt x="0" y="2358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/>
            <p:cNvSpPr>
              <a:spLocks/>
            </p:cNvSpPr>
            <p:nvPr userDrawn="1"/>
          </p:nvSpPr>
          <p:spPr bwMode="auto">
            <a:xfrm>
              <a:off x="7218125" y="9595"/>
              <a:ext cx="737047" cy="5149755"/>
            </a:xfrm>
            <a:custGeom>
              <a:avLst/>
              <a:gdLst>
                <a:gd name="T0" fmla="*/ 2037 w 2037"/>
                <a:gd name="T1" fmla="*/ 0 h 14206"/>
                <a:gd name="T2" fmla="*/ 2037 w 2037"/>
                <a:gd name="T3" fmla="*/ 7892 h 14206"/>
                <a:gd name="T4" fmla="*/ 0 w 2037"/>
                <a:gd name="T5" fmla="*/ 14206 h 14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37" h="14206">
                  <a:moveTo>
                    <a:pt x="2037" y="0"/>
                  </a:moveTo>
                  <a:lnTo>
                    <a:pt x="2037" y="7892"/>
                  </a:lnTo>
                  <a:cubicBezTo>
                    <a:pt x="2037" y="10250"/>
                    <a:pt x="1282" y="12430"/>
                    <a:pt x="0" y="14206"/>
                  </a:cubicBezTo>
                </a:path>
              </a:pathLst>
            </a:custGeom>
            <a:noFill/>
            <a:ln w="1270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8438" y="9595"/>
              <a:ext cx="1241174" cy="2860443"/>
            </a:xfrm>
            <a:custGeom>
              <a:avLst/>
              <a:gdLst>
                <a:gd name="T0" fmla="*/ 0 w 3429"/>
                <a:gd name="T1" fmla="*/ 7892 h 7892"/>
                <a:gd name="T2" fmla="*/ 3429 w 3429"/>
                <a:gd name="T3" fmla="*/ 0 h 7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29" h="7892">
                  <a:moveTo>
                    <a:pt x="0" y="7892"/>
                  </a:moveTo>
                  <a:cubicBezTo>
                    <a:pt x="0" y="4778"/>
                    <a:pt x="1319" y="1971"/>
                    <a:pt x="3429" y="0"/>
                  </a:cubicBezTo>
                </a:path>
              </a:pathLst>
            </a:custGeom>
            <a:noFill/>
            <a:ln w="1270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727200" y="1263600"/>
            <a:ext cx="3916800" cy="1594800"/>
          </a:xfr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727200" y="3009600"/>
            <a:ext cx="3916800" cy="784800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Click to edit Master subtitle style</a:t>
            </a:r>
            <a:endParaRPr lang="fi-FI" dirty="0"/>
          </a:p>
        </p:txBody>
      </p:sp>
      <p:sp>
        <p:nvSpPr>
          <p:cNvPr id="8" name="Tekstin paikkamerkki 7"/>
          <p:cNvSpPr>
            <a:spLocks noGrp="1"/>
          </p:cNvSpPr>
          <p:nvPr>
            <p:ph type="body" sz="quarter" idx="13" hasCustomPrompt="1"/>
          </p:nvPr>
        </p:nvSpPr>
        <p:spPr>
          <a:xfrm>
            <a:off x="727075" y="3942000"/>
            <a:ext cx="3916800" cy="518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. N., title or business unit, example@neste.com</a:t>
            </a:r>
          </a:p>
        </p:txBody>
      </p:sp>
      <p:grpSp>
        <p:nvGrpSpPr>
          <p:cNvPr id="18" name="Ryhmä 17"/>
          <p:cNvGrpSpPr/>
          <p:nvPr userDrawn="1"/>
        </p:nvGrpSpPr>
        <p:grpSpPr bwMode="black">
          <a:xfrm>
            <a:off x="8034273" y="4831556"/>
            <a:ext cx="869375" cy="145200"/>
            <a:chOff x="1170790" y="2446391"/>
            <a:chExt cx="6636576" cy="1108419"/>
          </a:xfrm>
          <a:solidFill>
            <a:srgbClr val="FFFFFF"/>
          </a:solidFill>
        </p:grpSpPr>
        <p:sp>
          <p:nvSpPr>
            <p:cNvPr id="19" name="Freeform 5"/>
            <p:cNvSpPr>
              <a:spLocks/>
            </p:cNvSpPr>
            <p:nvPr userDrawn="1"/>
          </p:nvSpPr>
          <p:spPr bwMode="black">
            <a:xfrm>
              <a:off x="6555303" y="2446391"/>
              <a:ext cx="1252063" cy="1099843"/>
            </a:xfrm>
            <a:custGeom>
              <a:avLst/>
              <a:gdLst>
                <a:gd name="T0" fmla="*/ 1029 w 5148"/>
                <a:gd name="T1" fmla="*/ 2797 h 4505"/>
                <a:gd name="T2" fmla="*/ 1029 w 5148"/>
                <a:gd name="T3" fmla="*/ 2797 h 4505"/>
                <a:gd name="T4" fmla="*/ 1131 w 5148"/>
                <a:gd name="T5" fmla="*/ 2699 h 4505"/>
                <a:gd name="T6" fmla="*/ 3810 w 5148"/>
                <a:gd name="T7" fmla="*/ 2699 h 4505"/>
                <a:gd name="T8" fmla="*/ 4255 w 5148"/>
                <a:gd name="T9" fmla="*/ 2251 h 4505"/>
                <a:gd name="T10" fmla="*/ 3810 w 5148"/>
                <a:gd name="T11" fmla="*/ 1806 h 4505"/>
                <a:gd name="T12" fmla="*/ 1131 w 5148"/>
                <a:gd name="T13" fmla="*/ 1806 h 4505"/>
                <a:gd name="T14" fmla="*/ 1029 w 5148"/>
                <a:gd name="T15" fmla="*/ 1709 h 4505"/>
                <a:gd name="T16" fmla="*/ 1029 w 5148"/>
                <a:gd name="T17" fmla="*/ 1443 h 4505"/>
                <a:gd name="T18" fmla="*/ 1513 w 5148"/>
                <a:gd name="T19" fmla="*/ 960 h 4505"/>
                <a:gd name="T20" fmla="*/ 4664 w 5148"/>
                <a:gd name="T21" fmla="*/ 960 h 4505"/>
                <a:gd name="T22" fmla="*/ 5148 w 5148"/>
                <a:gd name="T23" fmla="*/ 480 h 4505"/>
                <a:gd name="T24" fmla="*/ 4664 w 5148"/>
                <a:gd name="T25" fmla="*/ 0 h 4505"/>
                <a:gd name="T26" fmla="*/ 1322 w 5148"/>
                <a:gd name="T27" fmla="*/ 0 h 4505"/>
                <a:gd name="T28" fmla="*/ 0 w 5148"/>
                <a:gd name="T29" fmla="*/ 1322 h 4505"/>
                <a:gd name="T30" fmla="*/ 0 w 5148"/>
                <a:gd name="T31" fmla="*/ 3187 h 4505"/>
                <a:gd name="T32" fmla="*/ 1322 w 5148"/>
                <a:gd name="T33" fmla="*/ 4505 h 4505"/>
                <a:gd name="T34" fmla="*/ 4664 w 5148"/>
                <a:gd name="T35" fmla="*/ 4505 h 4505"/>
                <a:gd name="T36" fmla="*/ 5148 w 5148"/>
                <a:gd name="T37" fmla="*/ 4025 h 4505"/>
                <a:gd name="T38" fmla="*/ 4664 w 5148"/>
                <a:gd name="T39" fmla="*/ 3546 h 4505"/>
                <a:gd name="T40" fmla="*/ 1513 w 5148"/>
                <a:gd name="T41" fmla="*/ 3546 h 4505"/>
                <a:gd name="T42" fmla="*/ 1029 w 5148"/>
                <a:gd name="T43" fmla="*/ 3062 h 4505"/>
                <a:gd name="T44" fmla="*/ 1029 w 5148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8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31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6" y="1806"/>
                    <a:pt x="3810" y="1806"/>
                  </a:cubicBezTo>
                  <a:lnTo>
                    <a:pt x="1131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4"/>
                    <a:pt x="1244" y="960"/>
                    <a:pt x="1513" y="960"/>
                  </a:cubicBezTo>
                  <a:lnTo>
                    <a:pt x="4664" y="960"/>
                  </a:lnTo>
                  <a:cubicBezTo>
                    <a:pt x="4929" y="960"/>
                    <a:pt x="5148" y="745"/>
                    <a:pt x="5148" y="480"/>
                  </a:cubicBezTo>
                  <a:cubicBezTo>
                    <a:pt x="5148" y="215"/>
                    <a:pt x="4929" y="0"/>
                    <a:pt x="4664" y="0"/>
                  </a:cubicBezTo>
                  <a:lnTo>
                    <a:pt x="1322" y="0"/>
                  </a:lnTo>
                  <a:cubicBezTo>
                    <a:pt x="593" y="4"/>
                    <a:pt x="0" y="593"/>
                    <a:pt x="0" y="1322"/>
                  </a:cubicBezTo>
                  <a:lnTo>
                    <a:pt x="0" y="3187"/>
                  </a:lnTo>
                  <a:cubicBezTo>
                    <a:pt x="0" y="3912"/>
                    <a:pt x="593" y="4501"/>
                    <a:pt x="1322" y="4505"/>
                  </a:cubicBezTo>
                  <a:lnTo>
                    <a:pt x="4664" y="4505"/>
                  </a:lnTo>
                  <a:cubicBezTo>
                    <a:pt x="4929" y="4505"/>
                    <a:pt x="5148" y="4291"/>
                    <a:pt x="5148" y="4025"/>
                  </a:cubicBezTo>
                  <a:cubicBezTo>
                    <a:pt x="5148" y="3760"/>
                    <a:pt x="4929" y="3546"/>
                    <a:pt x="4664" y="3546"/>
                  </a:cubicBezTo>
                  <a:lnTo>
                    <a:pt x="1513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6"/>
            <p:cNvSpPr>
              <a:spLocks/>
            </p:cNvSpPr>
            <p:nvPr userDrawn="1"/>
          </p:nvSpPr>
          <p:spPr bwMode="black">
            <a:xfrm>
              <a:off x="3875374" y="2446391"/>
              <a:ext cx="1275646" cy="1099843"/>
            </a:xfrm>
            <a:custGeom>
              <a:avLst/>
              <a:gdLst>
                <a:gd name="T0" fmla="*/ 4158 w 5245"/>
                <a:gd name="T1" fmla="*/ 3304 h 4505"/>
                <a:gd name="T2" fmla="*/ 4158 w 5245"/>
                <a:gd name="T3" fmla="*/ 3304 h 4505"/>
                <a:gd name="T4" fmla="*/ 4240 w 5245"/>
                <a:gd name="T5" fmla="*/ 3421 h 4505"/>
                <a:gd name="T6" fmla="*/ 4115 w 5245"/>
                <a:gd name="T7" fmla="*/ 3546 h 4505"/>
                <a:gd name="T8" fmla="*/ 671 w 5245"/>
                <a:gd name="T9" fmla="*/ 3546 h 4505"/>
                <a:gd name="T10" fmla="*/ 187 w 5245"/>
                <a:gd name="T11" fmla="*/ 4025 h 4505"/>
                <a:gd name="T12" fmla="*/ 671 w 5245"/>
                <a:gd name="T13" fmla="*/ 4505 h 4505"/>
                <a:gd name="T14" fmla="*/ 4169 w 5245"/>
                <a:gd name="T15" fmla="*/ 4505 h 4505"/>
                <a:gd name="T16" fmla="*/ 5245 w 5245"/>
                <a:gd name="T17" fmla="*/ 3428 h 4505"/>
                <a:gd name="T18" fmla="*/ 4540 w 5245"/>
                <a:gd name="T19" fmla="*/ 2418 h 4505"/>
                <a:gd name="T20" fmla="*/ 1092 w 5245"/>
                <a:gd name="T21" fmla="*/ 1201 h 4505"/>
                <a:gd name="T22" fmla="*/ 1010 w 5245"/>
                <a:gd name="T23" fmla="*/ 1084 h 4505"/>
                <a:gd name="T24" fmla="*/ 1131 w 5245"/>
                <a:gd name="T25" fmla="*/ 960 h 4505"/>
                <a:gd name="T26" fmla="*/ 4575 w 5245"/>
                <a:gd name="T27" fmla="*/ 960 h 4505"/>
                <a:gd name="T28" fmla="*/ 5054 w 5245"/>
                <a:gd name="T29" fmla="*/ 480 h 4505"/>
                <a:gd name="T30" fmla="*/ 4575 w 5245"/>
                <a:gd name="T31" fmla="*/ 0 h 4505"/>
                <a:gd name="T32" fmla="*/ 1072 w 5245"/>
                <a:gd name="T33" fmla="*/ 0 h 4505"/>
                <a:gd name="T34" fmla="*/ 0 w 5245"/>
                <a:gd name="T35" fmla="*/ 1077 h 4505"/>
                <a:gd name="T36" fmla="*/ 667 w 5245"/>
                <a:gd name="T37" fmla="*/ 2071 h 4505"/>
                <a:gd name="T38" fmla="*/ 4158 w 5245"/>
                <a:gd name="T39" fmla="*/ 3304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45" h="4505">
                  <a:moveTo>
                    <a:pt x="4158" y="3304"/>
                  </a:moveTo>
                  <a:lnTo>
                    <a:pt x="4158" y="3304"/>
                  </a:lnTo>
                  <a:cubicBezTo>
                    <a:pt x="4201" y="3323"/>
                    <a:pt x="4240" y="3366"/>
                    <a:pt x="4240" y="3421"/>
                  </a:cubicBezTo>
                  <a:cubicBezTo>
                    <a:pt x="4240" y="3487"/>
                    <a:pt x="4181" y="3546"/>
                    <a:pt x="4115" y="3546"/>
                  </a:cubicBezTo>
                  <a:lnTo>
                    <a:pt x="671" y="3546"/>
                  </a:lnTo>
                  <a:cubicBezTo>
                    <a:pt x="402" y="3546"/>
                    <a:pt x="187" y="3760"/>
                    <a:pt x="187" y="4025"/>
                  </a:cubicBezTo>
                  <a:cubicBezTo>
                    <a:pt x="187" y="4291"/>
                    <a:pt x="406" y="4505"/>
                    <a:pt x="671" y="4505"/>
                  </a:cubicBezTo>
                  <a:lnTo>
                    <a:pt x="4169" y="4505"/>
                  </a:lnTo>
                  <a:cubicBezTo>
                    <a:pt x="4758" y="4505"/>
                    <a:pt x="5245" y="4021"/>
                    <a:pt x="5245" y="3428"/>
                  </a:cubicBezTo>
                  <a:cubicBezTo>
                    <a:pt x="5245" y="2964"/>
                    <a:pt x="4949" y="2570"/>
                    <a:pt x="4540" y="2418"/>
                  </a:cubicBezTo>
                  <a:lnTo>
                    <a:pt x="1092" y="1201"/>
                  </a:lnTo>
                  <a:cubicBezTo>
                    <a:pt x="1045" y="1186"/>
                    <a:pt x="1010" y="1139"/>
                    <a:pt x="1010" y="1084"/>
                  </a:cubicBezTo>
                  <a:cubicBezTo>
                    <a:pt x="1010" y="1018"/>
                    <a:pt x="1061" y="960"/>
                    <a:pt x="1131" y="960"/>
                  </a:cubicBezTo>
                  <a:lnTo>
                    <a:pt x="4575" y="960"/>
                  </a:lnTo>
                  <a:cubicBezTo>
                    <a:pt x="4840" y="960"/>
                    <a:pt x="5054" y="745"/>
                    <a:pt x="5054" y="480"/>
                  </a:cubicBezTo>
                  <a:cubicBezTo>
                    <a:pt x="5054" y="215"/>
                    <a:pt x="4836" y="0"/>
                    <a:pt x="4575" y="0"/>
                  </a:cubicBezTo>
                  <a:lnTo>
                    <a:pt x="1072" y="0"/>
                  </a:lnTo>
                  <a:cubicBezTo>
                    <a:pt x="476" y="0"/>
                    <a:pt x="0" y="484"/>
                    <a:pt x="0" y="1077"/>
                  </a:cubicBezTo>
                  <a:cubicBezTo>
                    <a:pt x="0" y="1525"/>
                    <a:pt x="277" y="1911"/>
                    <a:pt x="667" y="2071"/>
                  </a:cubicBezTo>
                  <a:lnTo>
                    <a:pt x="4158" y="3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black">
            <a:xfrm>
              <a:off x="5196043" y="2446391"/>
              <a:ext cx="1321741" cy="1108419"/>
            </a:xfrm>
            <a:custGeom>
              <a:avLst/>
              <a:gdLst>
                <a:gd name="T0" fmla="*/ 2196 w 5433"/>
                <a:gd name="T1" fmla="*/ 4025 h 4540"/>
                <a:gd name="T2" fmla="*/ 2196 w 5433"/>
                <a:gd name="T3" fmla="*/ 4025 h 4540"/>
                <a:gd name="T4" fmla="*/ 2710 w 5433"/>
                <a:gd name="T5" fmla="*/ 4540 h 4540"/>
                <a:gd name="T6" fmla="*/ 3225 w 5433"/>
                <a:gd name="T7" fmla="*/ 4025 h 4540"/>
                <a:gd name="T8" fmla="*/ 3225 w 5433"/>
                <a:gd name="T9" fmla="*/ 1061 h 4540"/>
                <a:gd name="T10" fmla="*/ 3327 w 5433"/>
                <a:gd name="T11" fmla="*/ 960 h 4540"/>
                <a:gd name="T12" fmla="*/ 4953 w 5433"/>
                <a:gd name="T13" fmla="*/ 960 h 4540"/>
                <a:gd name="T14" fmla="*/ 5433 w 5433"/>
                <a:gd name="T15" fmla="*/ 480 h 4540"/>
                <a:gd name="T16" fmla="*/ 4953 w 5433"/>
                <a:gd name="T17" fmla="*/ 0 h 4540"/>
                <a:gd name="T18" fmla="*/ 479 w 5433"/>
                <a:gd name="T19" fmla="*/ 0 h 4540"/>
                <a:gd name="T20" fmla="*/ 0 w 5433"/>
                <a:gd name="T21" fmla="*/ 480 h 4540"/>
                <a:gd name="T22" fmla="*/ 479 w 5433"/>
                <a:gd name="T23" fmla="*/ 960 h 4540"/>
                <a:gd name="T24" fmla="*/ 2098 w 5433"/>
                <a:gd name="T25" fmla="*/ 960 h 4540"/>
                <a:gd name="T26" fmla="*/ 2196 w 5433"/>
                <a:gd name="T27" fmla="*/ 1061 h 4540"/>
                <a:gd name="T28" fmla="*/ 2196 w 5433"/>
                <a:gd name="T29" fmla="*/ 4025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33" h="4540">
                  <a:moveTo>
                    <a:pt x="2196" y="4025"/>
                  </a:moveTo>
                  <a:lnTo>
                    <a:pt x="2196" y="4025"/>
                  </a:lnTo>
                  <a:cubicBezTo>
                    <a:pt x="2192" y="4310"/>
                    <a:pt x="2426" y="4540"/>
                    <a:pt x="2710" y="4540"/>
                  </a:cubicBezTo>
                  <a:cubicBezTo>
                    <a:pt x="2995" y="4540"/>
                    <a:pt x="3225" y="4310"/>
                    <a:pt x="3225" y="4025"/>
                  </a:cubicBezTo>
                  <a:lnTo>
                    <a:pt x="3225" y="1061"/>
                  </a:lnTo>
                  <a:cubicBezTo>
                    <a:pt x="3225" y="1003"/>
                    <a:pt x="3272" y="960"/>
                    <a:pt x="3327" y="960"/>
                  </a:cubicBezTo>
                  <a:lnTo>
                    <a:pt x="4953" y="960"/>
                  </a:lnTo>
                  <a:cubicBezTo>
                    <a:pt x="5218" y="960"/>
                    <a:pt x="5433" y="745"/>
                    <a:pt x="5433" y="480"/>
                  </a:cubicBezTo>
                  <a:cubicBezTo>
                    <a:pt x="5433" y="215"/>
                    <a:pt x="5214" y="0"/>
                    <a:pt x="4953" y="0"/>
                  </a:cubicBezTo>
                  <a:lnTo>
                    <a:pt x="479" y="0"/>
                  </a:lnTo>
                  <a:cubicBezTo>
                    <a:pt x="214" y="0"/>
                    <a:pt x="0" y="215"/>
                    <a:pt x="0" y="480"/>
                  </a:cubicBezTo>
                  <a:cubicBezTo>
                    <a:pt x="0" y="745"/>
                    <a:pt x="214" y="960"/>
                    <a:pt x="479" y="960"/>
                  </a:cubicBezTo>
                  <a:lnTo>
                    <a:pt x="2098" y="960"/>
                  </a:lnTo>
                  <a:cubicBezTo>
                    <a:pt x="2153" y="960"/>
                    <a:pt x="2196" y="1003"/>
                    <a:pt x="2196" y="1061"/>
                  </a:cubicBezTo>
                  <a:lnTo>
                    <a:pt x="2196" y="40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8"/>
            <p:cNvSpPr>
              <a:spLocks/>
            </p:cNvSpPr>
            <p:nvPr userDrawn="1"/>
          </p:nvSpPr>
          <p:spPr bwMode="black">
            <a:xfrm>
              <a:off x="2550417" y="2446391"/>
              <a:ext cx="1250991" cy="1099843"/>
            </a:xfrm>
            <a:custGeom>
              <a:avLst/>
              <a:gdLst>
                <a:gd name="T0" fmla="*/ 1029 w 5144"/>
                <a:gd name="T1" fmla="*/ 2797 h 4505"/>
                <a:gd name="T2" fmla="*/ 1029 w 5144"/>
                <a:gd name="T3" fmla="*/ 2797 h 4505"/>
                <a:gd name="T4" fmla="*/ 1127 w 5144"/>
                <a:gd name="T5" fmla="*/ 2699 h 4505"/>
                <a:gd name="T6" fmla="*/ 3810 w 5144"/>
                <a:gd name="T7" fmla="*/ 2699 h 4505"/>
                <a:gd name="T8" fmla="*/ 4255 w 5144"/>
                <a:gd name="T9" fmla="*/ 2251 h 4505"/>
                <a:gd name="T10" fmla="*/ 3810 w 5144"/>
                <a:gd name="T11" fmla="*/ 1806 h 4505"/>
                <a:gd name="T12" fmla="*/ 1127 w 5144"/>
                <a:gd name="T13" fmla="*/ 1806 h 4505"/>
                <a:gd name="T14" fmla="*/ 1029 w 5144"/>
                <a:gd name="T15" fmla="*/ 1709 h 4505"/>
                <a:gd name="T16" fmla="*/ 1029 w 5144"/>
                <a:gd name="T17" fmla="*/ 1443 h 4505"/>
                <a:gd name="T18" fmla="*/ 1509 w 5144"/>
                <a:gd name="T19" fmla="*/ 960 h 4505"/>
                <a:gd name="T20" fmla="*/ 4664 w 5144"/>
                <a:gd name="T21" fmla="*/ 960 h 4505"/>
                <a:gd name="T22" fmla="*/ 5144 w 5144"/>
                <a:gd name="T23" fmla="*/ 480 h 4505"/>
                <a:gd name="T24" fmla="*/ 4664 w 5144"/>
                <a:gd name="T25" fmla="*/ 0 h 4505"/>
                <a:gd name="T26" fmla="*/ 1318 w 5144"/>
                <a:gd name="T27" fmla="*/ 0 h 4505"/>
                <a:gd name="T28" fmla="*/ 0 w 5144"/>
                <a:gd name="T29" fmla="*/ 1318 h 4505"/>
                <a:gd name="T30" fmla="*/ 0 w 5144"/>
                <a:gd name="T31" fmla="*/ 3187 h 4505"/>
                <a:gd name="T32" fmla="*/ 1318 w 5144"/>
                <a:gd name="T33" fmla="*/ 4505 h 4505"/>
                <a:gd name="T34" fmla="*/ 4664 w 5144"/>
                <a:gd name="T35" fmla="*/ 4505 h 4505"/>
                <a:gd name="T36" fmla="*/ 5144 w 5144"/>
                <a:gd name="T37" fmla="*/ 4025 h 4505"/>
                <a:gd name="T38" fmla="*/ 4664 w 5144"/>
                <a:gd name="T39" fmla="*/ 3546 h 4505"/>
                <a:gd name="T40" fmla="*/ 1509 w 5144"/>
                <a:gd name="T41" fmla="*/ 3546 h 4505"/>
                <a:gd name="T42" fmla="*/ 1029 w 5144"/>
                <a:gd name="T43" fmla="*/ 3062 h 4505"/>
                <a:gd name="T44" fmla="*/ 1029 w 5144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4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27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2" y="1806"/>
                    <a:pt x="3810" y="1806"/>
                  </a:cubicBezTo>
                  <a:lnTo>
                    <a:pt x="1127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8"/>
                    <a:pt x="1244" y="960"/>
                    <a:pt x="1509" y="960"/>
                  </a:cubicBezTo>
                  <a:lnTo>
                    <a:pt x="4664" y="960"/>
                  </a:lnTo>
                  <a:cubicBezTo>
                    <a:pt x="4929" y="960"/>
                    <a:pt x="5144" y="745"/>
                    <a:pt x="5144" y="480"/>
                  </a:cubicBezTo>
                  <a:cubicBezTo>
                    <a:pt x="5144" y="215"/>
                    <a:pt x="4929" y="0"/>
                    <a:pt x="4664" y="0"/>
                  </a:cubicBezTo>
                  <a:lnTo>
                    <a:pt x="1318" y="0"/>
                  </a:lnTo>
                  <a:cubicBezTo>
                    <a:pt x="588" y="4"/>
                    <a:pt x="0" y="593"/>
                    <a:pt x="0" y="1318"/>
                  </a:cubicBezTo>
                  <a:lnTo>
                    <a:pt x="0" y="3187"/>
                  </a:lnTo>
                  <a:cubicBezTo>
                    <a:pt x="0" y="3916"/>
                    <a:pt x="588" y="4501"/>
                    <a:pt x="1318" y="4505"/>
                  </a:cubicBezTo>
                  <a:lnTo>
                    <a:pt x="4664" y="4505"/>
                  </a:lnTo>
                  <a:cubicBezTo>
                    <a:pt x="4929" y="4505"/>
                    <a:pt x="5144" y="4291"/>
                    <a:pt x="5144" y="4025"/>
                  </a:cubicBezTo>
                  <a:cubicBezTo>
                    <a:pt x="5144" y="3760"/>
                    <a:pt x="4929" y="3546"/>
                    <a:pt x="4664" y="3546"/>
                  </a:cubicBezTo>
                  <a:lnTo>
                    <a:pt x="1509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black">
            <a:xfrm>
              <a:off x="1170790" y="2446391"/>
              <a:ext cx="1253135" cy="1108419"/>
            </a:xfrm>
            <a:custGeom>
              <a:avLst/>
              <a:gdLst>
                <a:gd name="T0" fmla="*/ 98 w 5152"/>
                <a:gd name="T1" fmla="*/ 0 h 4540"/>
                <a:gd name="T2" fmla="*/ 3834 w 5152"/>
                <a:gd name="T3" fmla="*/ 0 h 4540"/>
                <a:gd name="T4" fmla="*/ 5152 w 5152"/>
                <a:gd name="T5" fmla="*/ 1318 h 4540"/>
                <a:gd name="T6" fmla="*/ 5152 w 5152"/>
                <a:gd name="T7" fmla="*/ 4025 h 4540"/>
                <a:gd name="T8" fmla="*/ 4637 w 5152"/>
                <a:gd name="T9" fmla="*/ 4540 h 4540"/>
                <a:gd name="T10" fmla="*/ 4122 w 5152"/>
                <a:gd name="T11" fmla="*/ 4025 h 4540"/>
                <a:gd name="T12" fmla="*/ 4122 w 5152"/>
                <a:gd name="T13" fmla="*/ 1443 h 4540"/>
                <a:gd name="T14" fmla="*/ 3643 w 5152"/>
                <a:gd name="T15" fmla="*/ 960 h 4540"/>
                <a:gd name="T16" fmla="*/ 1131 w 5152"/>
                <a:gd name="T17" fmla="*/ 960 h 4540"/>
                <a:gd name="T18" fmla="*/ 1034 w 5152"/>
                <a:gd name="T19" fmla="*/ 1061 h 4540"/>
                <a:gd name="T20" fmla="*/ 1034 w 5152"/>
                <a:gd name="T21" fmla="*/ 4025 h 4540"/>
                <a:gd name="T22" fmla="*/ 515 w 5152"/>
                <a:gd name="T23" fmla="*/ 4540 h 4540"/>
                <a:gd name="T24" fmla="*/ 0 w 5152"/>
                <a:gd name="T25" fmla="*/ 4025 h 4540"/>
                <a:gd name="T26" fmla="*/ 0 w 5152"/>
                <a:gd name="T27" fmla="*/ 98 h 4540"/>
                <a:gd name="T28" fmla="*/ 98 w 5152"/>
                <a:gd name="T29" fmla="*/ 0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2" h="4540">
                  <a:moveTo>
                    <a:pt x="98" y="0"/>
                  </a:moveTo>
                  <a:lnTo>
                    <a:pt x="3834" y="0"/>
                  </a:lnTo>
                  <a:cubicBezTo>
                    <a:pt x="4563" y="0"/>
                    <a:pt x="5152" y="593"/>
                    <a:pt x="5152" y="1318"/>
                  </a:cubicBezTo>
                  <a:lnTo>
                    <a:pt x="5152" y="4025"/>
                  </a:lnTo>
                  <a:cubicBezTo>
                    <a:pt x="5152" y="4310"/>
                    <a:pt x="4922" y="4540"/>
                    <a:pt x="4637" y="4540"/>
                  </a:cubicBezTo>
                  <a:cubicBezTo>
                    <a:pt x="4353" y="4540"/>
                    <a:pt x="4119" y="4310"/>
                    <a:pt x="4122" y="4025"/>
                  </a:cubicBezTo>
                  <a:lnTo>
                    <a:pt x="4122" y="1443"/>
                  </a:lnTo>
                  <a:cubicBezTo>
                    <a:pt x="4119" y="1178"/>
                    <a:pt x="3908" y="960"/>
                    <a:pt x="3643" y="960"/>
                  </a:cubicBezTo>
                  <a:lnTo>
                    <a:pt x="1131" y="960"/>
                  </a:lnTo>
                  <a:cubicBezTo>
                    <a:pt x="1077" y="960"/>
                    <a:pt x="1030" y="1006"/>
                    <a:pt x="1034" y="1061"/>
                  </a:cubicBezTo>
                  <a:lnTo>
                    <a:pt x="1034" y="4025"/>
                  </a:lnTo>
                  <a:cubicBezTo>
                    <a:pt x="1034" y="4310"/>
                    <a:pt x="800" y="4540"/>
                    <a:pt x="515" y="4540"/>
                  </a:cubicBezTo>
                  <a:cubicBezTo>
                    <a:pt x="230" y="4540"/>
                    <a:pt x="0" y="4310"/>
                    <a:pt x="0" y="4025"/>
                  </a:cubicBezTo>
                  <a:lnTo>
                    <a:pt x="0" y="98"/>
                  </a:lnTo>
                  <a:cubicBezTo>
                    <a:pt x="0" y="43"/>
                    <a:pt x="47" y="0"/>
                    <a:pt x="9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6984405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ection Header 2 with Backgroun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727200" y="1774800"/>
            <a:ext cx="4654800" cy="1594800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</a:t>
            </a:r>
            <a:br>
              <a:rPr lang="fi-FI"/>
            </a:br>
            <a:r>
              <a:rPr lang="fi-FI"/>
              <a:t>Master title style</a:t>
            </a:r>
            <a:endParaRPr lang="fi-FI" dirty="0"/>
          </a:p>
        </p:txBody>
      </p:sp>
      <p:grpSp>
        <p:nvGrpSpPr>
          <p:cNvPr id="12" name="Ryhmä 11"/>
          <p:cNvGrpSpPr/>
          <p:nvPr userDrawn="1"/>
        </p:nvGrpSpPr>
        <p:grpSpPr bwMode="black">
          <a:xfrm>
            <a:off x="8034273" y="4831556"/>
            <a:ext cx="869375" cy="145200"/>
            <a:chOff x="1170790" y="2446391"/>
            <a:chExt cx="6636576" cy="1108419"/>
          </a:xfrm>
          <a:solidFill>
            <a:srgbClr val="FFFFFF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black">
            <a:xfrm>
              <a:off x="6555303" y="2446391"/>
              <a:ext cx="1252063" cy="1099843"/>
            </a:xfrm>
            <a:custGeom>
              <a:avLst/>
              <a:gdLst>
                <a:gd name="T0" fmla="*/ 1029 w 5148"/>
                <a:gd name="T1" fmla="*/ 2797 h 4505"/>
                <a:gd name="T2" fmla="*/ 1029 w 5148"/>
                <a:gd name="T3" fmla="*/ 2797 h 4505"/>
                <a:gd name="T4" fmla="*/ 1131 w 5148"/>
                <a:gd name="T5" fmla="*/ 2699 h 4505"/>
                <a:gd name="T6" fmla="*/ 3810 w 5148"/>
                <a:gd name="T7" fmla="*/ 2699 h 4505"/>
                <a:gd name="T8" fmla="*/ 4255 w 5148"/>
                <a:gd name="T9" fmla="*/ 2251 h 4505"/>
                <a:gd name="T10" fmla="*/ 3810 w 5148"/>
                <a:gd name="T11" fmla="*/ 1806 h 4505"/>
                <a:gd name="T12" fmla="*/ 1131 w 5148"/>
                <a:gd name="T13" fmla="*/ 1806 h 4505"/>
                <a:gd name="T14" fmla="*/ 1029 w 5148"/>
                <a:gd name="T15" fmla="*/ 1709 h 4505"/>
                <a:gd name="T16" fmla="*/ 1029 w 5148"/>
                <a:gd name="T17" fmla="*/ 1443 h 4505"/>
                <a:gd name="T18" fmla="*/ 1513 w 5148"/>
                <a:gd name="T19" fmla="*/ 960 h 4505"/>
                <a:gd name="T20" fmla="*/ 4664 w 5148"/>
                <a:gd name="T21" fmla="*/ 960 h 4505"/>
                <a:gd name="T22" fmla="*/ 5148 w 5148"/>
                <a:gd name="T23" fmla="*/ 480 h 4505"/>
                <a:gd name="T24" fmla="*/ 4664 w 5148"/>
                <a:gd name="T25" fmla="*/ 0 h 4505"/>
                <a:gd name="T26" fmla="*/ 1322 w 5148"/>
                <a:gd name="T27" fmla="*/ 0 h 4505"/>
                <a:gd name="T28" fmla="*/ 0 w 5148"/>
                <a:gd name="T29" fmla="*/ 1322 h 4505"/>
                <a:gd name="T30" fmla="*/ 0 w 5148"/>
                <a:gd name="T31" fmla="*/ 3187 h 4505"/>
                <a:gd name="T32" fmla="*/ 1322 w 5148"/>
                <a:gd name="T33" fmla="*/ 4505 h 4505"/>
                <a:gd name="T34" fmla="*/ 4664 w 5148"/>
                <a:gd name="T35" fmla="*/ 4505 h 4505"/>
                <a:gd name="T36" fmla="*/ 5148 w 5148"/>
                <a:gd name="T37" fmla="*/ 4025 h 4505"/>
                <a:gd name="T38" fmla="*/ 4664 w 5148"/>
                <a:gd name="T39" fmla="*/ 3546 h 4505"/>
                <a:gd name="T40" fmla="*/ 1513 w 5148"/>
                <a:gd name="T41" fmla="*/ 3546 h 4505"/>
                <a:gd name="T42" fmla="*/ 1029 w 5148"/>
                <a:gd name="T43" fmla="*/ 3062 h 4505"/>
                <a:gd name="T44" fmla="*/ 1029 w 5148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8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31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6" y="1806"/>
                    <a:pt x="3810" y="1806"/>
                  </a:cubicBezTo>
                  <a:lnTo>
                    <a:pt x="1131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4"/>
                    <a:pt x="1244" y="960"/>
                    <a:pt x="1513" y="960"/>
                  </a:cubicBezTo>
                  <a:lnTo>
                    <a:pt x="4664" y="960"/>
                  </a:lnTo>
                  <a:cubicBezTo>
                    <a:pt x="4929" y="960"/>
                    <a:pt x="5148" y="745"/>
                    <a:pt x="5148" y="480"/>
                  </a:cubicBezTo>
                  <a:cubicBezTo>
                    <a:pt x="5148" y="215"/>
                    <a:pt x="4929" y="0"/>
                    <a:pt x="4664" y="0"/>
                  </a:cubicBezTo>
                  <a:lnTo>
                    <a:pt x="1322" y="0"/>
                  </a:lnTo>
                  <a:cubicBezTo>
                    <a:pt x="593" y="4"/>
                    <a:pt x="0" y="593"/>
                    <a:pt x="0" y="1322"/>
                  </a:cubicBezTo>
                  <a:lnTo>
                    <a:pt x="0" y="3187"/>
                  </a:lnTo>
                  <a:cubicBezTo>
                    <a:pt x="0" y="3912"/>
                    <a:pt x="593" y="4501"/>
                    <a:pt x="1322" y="4505"/>
                  </a:cubicBezTo>
                  <a:lnTo>
                    <a:pt x="4664" y="4505"/>
                  </a:lnTo>
                  <a:cubicBezTo>
                    <a:pt x="4929" y="4505"/>
                    <a:pt x="5148" y="4291"/>
                    <a:pt x="5148" y="4025"/>
                  </a:cubicBezTo>
                  <a:cubicBezTo>
                    <a:pt x="5148" y="3760"/>
                    <a:pt x="4929" y="3546"/>
                    <a:pt x="4664" y="3546"/>
                  </a:cubicBezTo>
                  <a:lnTo>
                    <a:pt x="1513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black">
            <a:xfrm>
              <a:off x="3875374" y="2446391"/>
              <a:ext cx="1275646" cy="1099843"/>
            </a:xfrm>
            <a:custGeom>
              <a:avLst/>
              <a:gdLst>
                <a:gd name="T0" fmla="*/ 4158 w 5245"/>
                <a:gd name="T1" fmla="*/ 3304 h 4505"/>
                <a:gd name="T2" fmla="*/ 4158 w 5245"/>
                <a:gd name="T3" fmla="*/ 3304 h 4505"/>
                <a:gd name="T4" fmla="*/ 4240 w 5245"/>
                <a:gd name="T5" fmla="*/ 3421 h 4505"/>
                <a:gd name="T6" fmla="*/ 4115 w 5245"/>
                <a:gd name="T7" fmla="*/ 3546 h 4505"/>
                <a:gd name="T8" fmla="*/ 671 w 5245"/>
                <a:gd name="T9" fmla="*/ 3546 h 4505"/>
                <a:gd name="T10" fmla="*/ 187 w 5245"/>
                <a:gd name="T11" fmla="*/ 4025 h 4505"/>
                <a:gd name="T12" fmla="*/ 671 w 5245"/>
                <a:gd name="T13" fmla="*/ 4505 h 4505"/>
                <a:gd name="T14" fmla="*/ 4169 w 5245"/>
                <a:gd name="T15" fmla="*/ 4505 h 4505"/>
                <a:gd name="T16" fmla="*/ 5245 w 5245"/>
                <a:gd name="T17" fmla="*/ 3428 h 4505"/>
                <a:gd name="T18" fmla="*/ 4540 w 5245"/>
                <a:gd name="T19" fmla="*/ 2418 h 4505"/>
                <a:gd name="T20" fmla="*/ 1092 w 5245"/>
                <a:gd name="T21" fmla="*/ 1201 h 4505"/>
                <a:gd name="T22" fmla="*/ 1010 w 5245"/>
                <a:gd name="T23" fmla="*/ 1084 h 4505"/>
                <a:gd name="T24" fmla="*/ 1131 w 5245"/>
                <a:gd name="T25" fmla="*/ 960 h 4505"/>
                <a:gd name="T26" fmla="*/ 4575 w 5245"/>
                <a:gd name="T27" fmla="*/ 960 h 4505"/>
                <a:gd name="T28" fmla="*/ 5054 w 5245"/>
                <a:gd name="T29" fmla="*/ 480 h 4505"/>
                <a:gd name="T30" fmla="*/ 4575 w 5245"/>
                <a:gd name="T31" fmla="*/ 0 h 4505"/>
                <a:gd name="T32" fmla="*/ 1072 w 5245"/>
                <a:gd name="T33" fmla="*/ 0 h 4505"/>
                <a:gd name="T34" fmla="*/ 0 w 5245"/>
                <a:gd name="T35" fmla="*/ 1077 h 4505"/>
                <a:gd name="T36" fmla="*/ 667 w 5245"/>
                <a:gd name="T37" fmla="*/ 2071 h 4505"/>
                <a:gd name="T38" fmla="*/ 4158 w 5245"/>
                <a:gd name="T39" fmla="*/ 3304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45" h="4505">
                  <a:moveTo>
                    <a:pt x="4158" y="3304"/>
                  </a:moveTo>
                  <a:lnTo>
                    <a:pt x="4158" y="3304"/>
                  </a:lnTo>
                  <a:cubicBezTo>
                    <a:pt x="4201" y="3323"/>
                    <a:pt x="4240" y="3366"/>
                    <a:pt x="4240" y="3421"/>
                  </a:cubicBezTo>
                  <a:cubicBezTo>
                    <a:pt x="4240" y="3487"/>
                    <a:pt x="4181" y="3546"/>
                    <a:pt x="4115" y="3546"/>
                  </a:cubicBezTo>
                  <a:lnTo>
                    <a:pt x="671" y="3546"/>
                  </a:lnTo>
                  <a:cubicBezTo>
                    <a:pt x="402" y="3546"/>
                    <a:pt x="187" y="3760"/>
                    <a:pt x="187" y="4025"/>
                  </a:cubicBezTo>
                  <a:cubicBezTo>
                    <a:pt x="187" y="4291"/>
                    <a:pt x="406" y="4505"/>
                    <a:pt x="671" y="4505"/>
                  </a:cubicBezTo>
                  <a:lnTo>
                    <a:pt x="4169" y="4505"/>
                  </a:lnTo>
                  <a:cubicBezTo>
                    <a:pt x="4758" y="4505"/>
                    <a:pt x="5245" y="4021"/>
                    <a:pt x="5245" y="3428"/>
                  </a:cubicBezTo>
                  <a:cubicBezTo>
                    <a:pt x="5245" y="2964"/>
                    <a:pt x="4949" y="2570"/>
                    <a:pt x="4540" y="2418"/>
                  </a:cubicBezTo>
                  <a:lnTo>
                    <a:pt x="1092" y="1201"/>
                  </a:lnTo>
                  <a:cubicBezTo>
                    <a:pt x="1045" y="1186"/>
                    <a:pt x="1010" y="1139"/>
                    <a:pt x="1010" y="1084"/>
                  </a:cubicBezTo>
                  <a:cubicBezTo>
                    <a:pt x="1010" y="1018"/>
                    <a:pt x="1061" y="960"/>
                    <a:pt x="1131" y="960"/>
                  </a:cubicBezTo>
                  <a:lnTo>
                    <a:pt x="4575" y="960"/>
                  </a:lnTo>
                  <a:cubicBezTo>
                    <a:pt x="4840" y="960"/>
                    <a:pt x="5054" y="745"/>
                    <a:pt x="5054" y="480"/>
                  </a:cubicBezTo>
                  <a:cubicBezTo>
                    <a:pt x="5054" y="215"/>
                    <a:pt x="4836" y="0"/>
                    <a:pt x="4575" y="0"/>
                  </a:cubicBezTo>
                  <a:lnTo>
                    <a:pt x="1072" y="0"/>
                  </a:lnTo>
                  <a:cubicBezTo>
                    <a:pt x="476" y="0"/>
                    <a:pt x="0" y="484"/>
                    <a:pt x="0" y="1077"/>
                  </a:cubicBezTo>
                  <a:cubicBezTo>
                    <a:pt x="0" y="1525"/>
                    <a:pt x="277" y="1911"/>
                    <a:pt x="667" y="2071"/>
                  </a:cubicBezTo>
                  <a:lnTo>
                    <a:pt x="4158" y="3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black">
            <a:xfrm>
              <a:off x="5196043" y="2446391"/>
              <a:ext cx="1321741" cy="1108419"/>
            </a:xfrm>
            <a:custGeom>
              <a:avLst/>
              <a:gdLst>
                <a:gd name="T0" fmla="*/ 2196 w 5433"/>
                <a:gd name="T1" fmla="*/ 4025 h 4540"/>
                <a:gd name="T2" fmla="*/ 2196 w 5433"/>
                <a:gd name="T3" fmla="*/ 4025 h 4540"/>
                <a:gd name="T4" fmla="*/ 2710 w 5433"/>
                <a:gd name="T5" fmla="*/ 4540 h 4540"/>
                <a:gd name="T6" fmla="*/ 3225 w 5433"/>
                <a:gd name="T7" fmla="*/ 4025 h 4540"/>
                <a:gd name="T8" fmla="*/ 3225 w 5433"/>
                <a:gd name="T9" fmla="*/ 1061 h 4540"/>
                <a:gd name="T10" fmla="*/ 3327 w 5433"/>
                <a:gd name="T11" fmla="*/ 960 h 4540"/>
                <a:gd name="T12" fmla="*/ 4953 w 5433"/>
                <a:gd name="T13" fmla="*/ 960 h 4540"/>
                <a:gd name="T14" fmla="*/ 5433 w 5433"/>
                <a:gd name="T15" fmla="*/ 480 h 4540"/>
                <a:gd name="T16" fmla="*/ 4953 w 5433"/>
                <a:gd name="T17" fmla="*/ 0 h 4540"/>
                <a:gd name="T18" fmla="*/ 479 w 5433"/>
                <a:gd name="T19" fmla="*/ 0 h 4540"/>
                <a:gd name="T20" fmla="*/ 0 w 5433"/>
                <a:gd name="T21" fmla="*/ 480 h 4540"/>
                <a:gd name="T22" fmla="*/ 479 w 5433"/>
                <a:gd name="T23" fmla="*/ 960 h 4540"/>
                <a:gd name="T24" fmla="*/ 2098 w 5433"/>
                <a:gd name="T25" fmla="*/ 960 h 4540"/>
                <a:gd name="T26" fmla="*/ 2196 w 5433"/>
                <a:gd name="T27" fmla="*/ 1061 h 4540"/>
                <a:gd name="T28" fmla="*/ 2196 w 5433"/>
                <a:gd name="T29" fmla="*/ 4025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33" h="4540">
                  <a:moveTo>
                    <a:pt x="2196" y="4025"/>
                  </a:moveTo>
                  <a:lnTo>
                    <a:pt x="2196" y="4025"/>
                  </a:lnTo>
                  <a:cubicBezTo>
                    <a:pt x="2192" y="4310"/>
                    <a:pt x="2426" y="4540"/>
                    <a:pt x="2710" y="4540"/>
                  </a:cubicBezTo>
                  <a:cubicBezTo>
                    <a:pt x="2995" y="4540"/>
                    <a:pt x="3225" y="4310"/>
                    <a:pt x="3225" y="4025"/>
                  </a:cubicBezTo>
                  <a:lnTo>
                    <a:pt x="3225" y="1061"/>
                  </a:lnTo>
                  <a:cubicBezTo>
                    <a:pt x="3225" y="1003"/>
                    <a:pt x="3272" y="960"/>
                    <a:pt x="3327" y="960"/>
                  </a:cubicBezTo>
                  <a:lnTo>
                    <a:pt x="4953" y="960"/>
                  </a:lnTo>
                  <a:cubicBezTo>
                    <a:pt x="5218" y="960"/>
                    <a:pt x="5433" y="745"/>
                    <a:pt x="5433" y="480"/>
                  </a:cubicBezTo>
                  <a:cubicBezTo>
                    <a:pt x="5433" y="215"/>
                    <a:pt x="5214" y="0"/>
                    <a:pt x="4953" y="0"/>
                  </a:cubicBezTo>
                  <a:lnTo>
                    <a:pt x="479" y="0"/>
                  </a:lnTo>
                  <a:cubicBezTo>
                    <a:pt x="214" y="0"/>
                    <a:pt x="0" y="215"/>
                    <a:pt x="0" y="480"/>
                  </a:cubicBezTo>
                  <a:cubicBezTo>
                    <a:pt x="0" y="745"/>
                    <a:pt x="214" y="960"/>
                    <a:pt x="479" y="960"/>
                  </a:cubicBezTo>
                  <a:lnTo>
                    <a:pt x="2098" y="960"/>
                  </a:lnTo>
                  <a:cubicBezTo>
                    <a:pt x="2153" y="960"/>
                    <a:pt x="2196" y="1003"/>
                    <a:pt x="2196" y="1061"/>
                  </a:cubicBezTo>
                  <a:lnTo>
                    <a:pt x="2196" y="40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black">
            <a:xfrm>
              <a:off x="2550417" y="2446391"/>
              <a:ext cx="1250991" cy="1099843"/>
            </a:xfrm>
            <a:custGeom>
              <a:avLst/>
              <a:gdLst>
                <a:gd name="T0" fmla="*/ 1029 w 5144"/>
                <a:gd name="T1" fmla="*/ 2797 h 4505"/>
                <a:gd name="T2" fmla="*/ 1029 w 5144"/>
                <a:gd name="T3" fmla="*/ 2797 h 4505"/>
                <a:gd name="T4" fmla="*/ 1127 w 5144"/>
                <a:gd name="T5" fmla="*/ 2699 h 4505"/>
                <a:gd name="T6" fmla="*/ 3810 w 5144"/>
                <a:gd name="T7" fmla="*/ 2699 h 4505"/>
                <a:gd name="T8" fmla="*/ 4255 w 5144"/>
                <a:gd name="T9" fmla="*/ 2251 h 4505"/>
                <a:gd name="T10" fmla="*/ 3810 w 5144"/>
                <a:gd name="T11" fmla="*/ 1806 h 4505"/>
                <a:gd name="T12" fmla="*/ 1127 w 5144"/>
                <a:gd name="T13" fmla="*/ 1806 h 4505"/>
                <a:gd name="T14" fmla="*/ 1029 w 5144"/>
                <a:gd name="T15" fmla="*/ 1709 h 4505"/>
                <a:gd name="T16" fmla="*/ 1029 w 5144"/>
                <a:gd name="T17" fmla="*/ 1443 h 4505"/>
                <a:gd name="T18" fmla="*/ 1509 w 5144"/>
                <a:gd name="T19" fmla="*/ 960 h 4505"/>
                <a:gd name="T20" fmla="*/ 4664 w 5144"/>
                <a:gd name="T21" fmla="*/ 960 h 4505"/>
                <a:gd name="T22" fmla="*/ 5144 w 5144"/>
                <a:gd name="T23" fmla="*/ 480 h 4505"/>
                <a:gd name="T24" fmla="*/ 4664 w 5144"/>
                <a:gd name="T25" fmla="*/ 0 h 4505"/>
                <a:gd name="T26" fmla="*/ 1318 w 5144"/>
                <a:gd name="T27" fmla="*/ 0 h 4505"/>
                <a:gd name="T28" fmla="*/ 0 w 5144"/>
                <a:gd name="T29" fmla="*/ 1318 h 4505"/>
                <a:gd name="T30" fmla="*/ 0 w 5144"/>
                <a:gd name="T31" fmla="*/ 3187 h 4505"/>
                <a:gd name="T32" fmla="*/ 1318 w 5144"/>
                <a:gd name="T33" fmla="*/ 4505 h 4505"/>
                <a:gd name="T34" fmla="*/ 4664 w 5144"/>
                <a:gd name="T35" fmla="*/ 4505 h 4505"/>
                <a:gd name="T36" fmla="*/ 5144 w 5144"/>
                <a:gd name="T37" fmla="*/ 4025 h 4505"/>
                <a:gd name="T38" fmla="*/ 4664 w 5144"/>
                <a:gd name="T39" fmla="*/ 3546 h 4505"/>
                <a:gd name="T40" fmla="*/ 1509 w 5144"/>
                <a:gd name="T41" fmla="*/ 3546 h 4505"/>
                <a:gd name="T42" fmla="*/ 1029 w 5144"/>
                <a:gd name="T43" fmla="*/ 3062 h 4505"/>
                <a:gd name="T44" fmla="*/ 1029 w 5144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4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27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2" y="1806"/>
                    <a:pt x="3810" y="1806"/>
                  </a:cubicBezTo>
                  <a:lnTo>
                    <a:pt x="1127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8"/>
                    <a:pt x="1244" y="960"/>
                    <a:pt x="1509" y="960"/>
                  </a:cubicBezTo>
                  <a:lnTo>
                    <a:pt x="4664" y="960"/>
                  </a:lnTo>
                  <a:cubicBezTo>
                    <a:pt x="4929" y="960"/>
                    <a:pt x="5144" y="745"/>
                    <a:pt x="5144" y="480"/>
                  </a:cubicBezTo>
                  <a:cubicBezTo>
                    <a:pt x="5144" y="215"/>
                    <a:pt x="4929" y="0"/>
                    <a:pt x="4664" y="0"/>
                  </a:cubicBezTo>
                  <a:lnTo>
                    <a:pt x="1318" y="0"/>
                  </a:lnTo>
                  <a:cubicBezTo>
                    <a:pt x="588" y="4"/>
                    <a:pt x="0" y="593"/>
                    <a:pt x="0" y="1318"/>
                  </a:cubicBezTo>
                  <a:lnTo>
                    <a:pt x="0" y="3187"/>
                  </a:lnTo>
                  <a:cubicBezTo>
                    <a:pt x="0" y="3916"/>
                    <a:pt x="588" y="4501"/>
                    <a:pt x="1318" y="4505"/>
                  </a:cubicBezTo>
                  <a:lnTo>
                    <a:pt x="4664" y="4505"/>
                  </a:lnTo>
                  <a:cubicBezTo>
                    <a:pt x="4929" y="4505"/>
                    <a:pt x="5144" y="4291"/>
                    <a:pt x="5144" y="4025"/>
                  </a:cubicBezTo>
                  <a:cubicBezTo>
                    <a:pt x="5144" y="3760"/>
                    <a:pt x="4929" y="3546"/>
                    <a:pt x="4664" y="3546"/>
                  </a:cubicBezTo>
                  <a:lnTo>
                    <a:pt x="1509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black">
            <a:xfrm>
              <a:off x="1170790" y="2446391"/>
              <a:ext cx="1253135" cy="1108419"/>
            </a:xfrm>
            <a:custGeom>
              <a:avLst/>
              <a:gdLst>
                <a:gd name="T0" fmla="*/ 98 w 5152"/>
                <a:gd name="T1" fmla="*/ 0 h 4540"/>
                <a:gd name="T2" fmla="*/ 3834 w 5152"/>
                <a:gd name="T3" fmla="*/ 0 h 4540"/>
                <a:gd name="T4" fmla="*/ 5152 w 5152"/>
                <a:gd name="T5" fmla="*/ 1318 h 4540"/>
                <a:gd name="T6" fmla="*/ 5152 w 5152"/>
                <a:gd name="T7" fmla="*/ 4025 h 4540"/>
                <a:gd name="T8" fmla="*/ 4637 w 5152"/>
                <a:gd name="T9" fmla="*/ 4540 h 4540"/>
                <a:gd name="T10" fmla="*/ 4122 w 5152"/>
                <a:gd name="T11" fmla="*/ 4025 h 4540"/>
                <a:gd name="T12" fmla="*/ 4122 w 5152"/>
                <a:gd name="T13" fmla="*/ 1443 h 4540"/>
                <a:gd name="T14" fmla="*/ 3643 w 5152"/>
                <a:gd name="T15" fmla="*/ 960 h 4540"/>
                <a:gd name="T16" fmla="*/ 1131 w 5152"/>
                <a:gd name="T17" fmla="*/ 960 h 4540"/>
                <a:gd name="T18" fmla="*/ 1034 w 5152"/>
                <a:gd name="T19" fmla="*/ 1061 h 4540"/>
                <a:gd name="T20" fmla="*/ 1034 w 5152"/>
                <a:gd name="T21" fmla="*/ 4025 h 4540"/>
                <a:gd name="T22" fmla="*/ 515 w 5152"/>
                <a:gd name="T23" fmla="*/ 4540 h 4540"/>
                <a:gd name="T24" fmla="*/ 0 w 5152"/>
                <a:gd name="T25" fmla="*/ 4025 h 4540"/>
                <a:gd name="T26" fmla="*/ 0 w 5152"/>
                <a:gd name="T27" fmla="*/ 98 h 4540"/>
                <a:gd name="T28" fmla="*/ 98 w 5152"/>
                <a:gd name="T29" fmla="*/ 0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2" h="4540">
                  <a:moveTo>
                    <a:pt x="98" y="0"/>
                  </a:moveTo>
                  <a:lnTo>
                    <a:pt x="3834" y="0"/>
                  </a:lnTo>
                  <a:cubicBezTo>
                    <a:pt x="4563" y="0"/>
                    <a:pt x="5152" y="593"/>
                    <a:pt x="5152" y="1318"/>
                  </a:cubicBezTo>
                  <a:lnTo>
                    <a:pt x="5152" y="4025"/>
                  </a:lnTo>
                  <a:cubicBezTo>
                    <a:pt x="5152" y="4310"/>
                    <a:pt x="4922" y="4540"/>
                    <a:pt x="4637" y="4540"/>
                  </a:cubicBezTo>
                  <a:cubicBezTo>
                    <a:pt x="4353" y="4540"/>
                    <a:pt x="4119" y="4310"/>
                    <a:pt x="4122" y="4025"/>
                  </a:cubicBezTo>
                  <a:lnTo>
                    <a:pt x="4122" y="1443"/>
                  </a:lnTo>
                  <a:cubicBezTo>
                    <a:pt x="4119" y="1178"/>
                    <a:pt x="3908" y="960"/>
                    <a:pt x="3643" y="960"/>
                  </a:cubicBezTo>
                  <a:lnTo>
                    <a:pt x="1131" y="960"/>
                  </a:lnTo>
                  <a:cubicBezTo>
                    <a:pt x="1077" y="960"/>
                    <a:pt x="1030" y="1006"/>
                    <a:pt x="1034" y="1061"/>
                  </a:cubicBezTo>
                  <a:lnTo>
                    <a:pt x="1034" y="4025"/>
                  </a:lnTo>
                  <a:cubicBezTo>
                    <a:pt x="1034" y="4310"/>
                    <a:pt x="800" y="4540"/>
                    <a:pt x="515" y="4540"/>
                  </a:cubicBezTo>
                  <a:cubicBezTo>
                    <a:pt x="230" y="4540"/>
                    <a:pt x="0" y="4310"/>
                    <a:pt x="0" y="4025"/>
                  </a:cubicBezTo>
                  <a:lnTo>
                    <a:pt x="0" y="98"/>
                  </a:lnTo>
                  <a:cubicBezTo>
                    <a:pt x="0" y="43"/>
                    <a:pt x="47" y="0"/>
                    <a:pt x="9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18" name="Teardrop 8"/>
          <p:cNvSpPr/>
          <p:nvPr userDrawn="1"/>
        </p:nvSpPr>
        <p:spPr>
          <a:xfrm>
            <a:off x="6261444" y="749143"/>
            <a:ext cx="2619790" cy="2619790"/>
          </a:xfrm>
          <a:prstGeom prst="teardrop">
            <a:avLst/>
          </a:prstGeom>
          <a:noFill/>
          <a:ln w="12700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4748213" y="0"/>
            <a:ext cx="4387850" cy="2968625"/>
          </a:xfrm>
          <a:custGeom>
            <a:avLst/>
            <a:gdLst>
              <a:gd name="T0" fmla="*/ 12149 w 12149"/>
              <a:gd name="T1" fmla="*/ 8109 h 8213"/>
              <a:gd name="T2" fmla="*/ 10638 w 12149"/>
              <a:gd name="T3" fmla="*/ 8213 h 8213"/>
              <a:gd name="T4" fmla="*/ 0 w 12149"/>
              <a:gd name="T5" fmla="*/ 0 h 8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2149" h="8213">
                <a:moveTo>
                  <a:pt x="12149" y="8109"/>
                </a:moveTo>
                <a:cubicBezTo>
                  <a:pt x="11655" y="8177"/>
                  <a:pt x="11151" y="8213"/>
                  <a:pt x="10638" y="8213"/>
                </a:cubicBezTo>
                <a:cubicBezTo>
                  <a:pt x="5527" y="8213"/>
                  <a:pt x="1231" y="4726"/>
                  <a:pt x="0" y="0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0" name="Freeform 6"/>
          <p:cNvSpPr>
            <a:spLocks noEditPoints="1"/>
          </p:cNvSpPr>
          <p:nvPr userDrawn="1"/>
        </p:nvSpPr>
        <p:spPr bwMode="auto">
          <a:xfrm>
            <a:off x="7993063" y="2063750"/>
            <a:ext cx="1143000" cy="1433513"/>
          </a:xfrm>
          <a:custGeom>
            <a:avLst/>
            <a:gdLst>
              <a:gd name="T0" fmla="*/ 0 w 3166"/>
              <a:gd name="T1" fmla="*/ 1981 h 3963"/>
              <a:gd name="T2" fmla="*/ 1982 w 3166"/>
              <a:gd name="T3" fmla="*/ 0 h 3963"/>
              <a:gd name="T4" fmla="*/ 3166 w 3166"/>
              <a:gd name="T5" fmla="*/ 0 h 3963"/>
              <a:gd name="T6" fmla="*/ 3166 w 3166"/>
              <a:gd name="T7" fmla="*/ 3570 h 3963"/>
              <a:gd name="T8" fmla="*/ 1982 w 3166"/>
              <a:gd name="T9" fmla="*/ 3963 h 3963"/>
              <a:gd name="T10" fmla="*/ 0 w 3166"/>
              <a:gd name="T11" fmla="*/ 1981 h 39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66" h="3963">
                <a:moveTo>
                  <a:pt x="0" y="1981"/>
                </a:moveTo>
                <a:cubicBezTo>
                  <a:pt x="0" y="887"/>
                  <a:pt x="888" y="0"/>
                  <a:pt x="1982" y="0"/>
                </a:cubicBezTo>
                <a:lnTo>
                  <a:pt x="3166" y="0"/>
                </a:lnTo>
                <a:moveTo>
                  <a:pt x="3166" y="3570"/>
                </a:moveTo>
                <a:cubicBezTo>
                  <a:pt x="2836" y="3817"/>
                  <a:pt x="2426" y="3963"/>
                  <a:pt x="1982" y="3963"/>
                </a:cubicBezTo>
                <a:cubicBezTo>
                  <a:pt x="888" y="3963"/>
                  <a:pt x="0" y="3076"/>
                  <a:pt x="0" y="198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836355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ardrop 8"/>
          <p:cNvSpPr/>
          <p:nvPr userDrawn="1"/>
        </p:nvSpPr>
        <p:spPr>
          <a:xfrm>
            <a:off x="5843839" y="321022"/>
            <a:ext cx="1901203" cy="1901203"/>
          </a:xfrm>
          <a:prstGeom prst="teardrop">
            <a:avLst/>
          </a:prstGeom>
          <a:noFill/>
          <a:ln w="12700" cmpd="sng">
            <a:solidFill>
              <a:srgbClr val="66CD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727200" y="1774800"/>
            <a:ext cx="4654800" cy="1594800"/>
          </a:xfrm>
        </p:spPr>
        <p:txBody>
          <a:bodyPr>
            <a:normAutofit/>
          </a:bodyPr>
          <a:lstStyle>
            <a:lvl1pPr>
              <a:defRPr sz="3200">
                <a:solidFill>
                  <a:srgbClr val="001177"/>
                </a:solidFill>
              </a:defRPr>
            </a:lvl1pPr>
          </a:lstStyle>
          <a:p>
            <a:r>
              <a:rPr lang="fi-FI"/>
              <a:t>Click to edit</a:t>
            </a:r>
            <a:br>
              <a:rPr lang="fi-FI"/>
            </a:br>
            <a:r>
              <a:rPr lang="fi-FI"/>
              <a:t>Master title style</a:t>
            </a:r>
            <a:endParaRPr lang="fi-FI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6647770" y="889000"/>
            <a:ext cx="2487613" cy="3363913"/>
          </a:xfrm>
          <a:custGeom>
            <a:avLst/>
            <a:gdLst>
              <a:gd name="T0" fmla="*/ 4 w 6895"/>
              <a:gd name="T1" fmla="*/ 4419 h 9321"/>
              <a:gd name="T2" fmla="*/ 51 w 6895"/>
              <a:gd name="T3" fmla="*/ 3950 h 9321"/>
              <a:gd name="T4" fmla="*/ 144 w 6895"/>
              <a:gd name="T5" fmla="*/ 3497 h 9321"/>
              <a:gd name="T6" fmla="*/ 279 w 6895"/>
              <a:gd name="T7" fmla="*/ 3056 h 9321"/>
              <a:gd name="T8" fmla="*/ 457 w 6895"/>
              <a:gd name="T9" fmla="*/ 2637 h 9321"/>
              <a:gd name="T10" fmla="*/ 673 w 6895"/>
              <a:gd name="T11" fmla="*/ 2244 h 9321"/>
              <a:gd name="T12" fmla="*/ 923 w 6895"/>
              <a:gd name="T13" fmla="*/ 1871 h 9321"/>
              <a:gd name="T14" fmla="*/ 1210 w 6895"/>
              <a:gd name="T15" fmla="*/ 1524 h 9321"/>
              <a:gd name="T16" fmla="*/ 1524 w 6895"/>
              <a:gd name="T17" fmla="*/ 1211 h 9321"/>
              <a:gd name="T18" fmla="*/ 1871 w 6895"/>
              <a:gd name="T19" fmla="*/ 923 h 9321"/>
              <a:gd name="T20" fmla="*/ 2243 w 6895"/>
              <a:gd name="T21" fmla="*/ 673 h 9321"/>
              <a:gd name="T22" fmla="*/ 2637 w 6895"/>
              <a:gd name="T23" fmla="*/ 457 h 9321"/>
              <a:gd name="T24" fmla="*/ 3056 w 6895"/>
              <a:gd name="T25" fmla="*/ 280 h 9321"/>
              <a:gd name="T26" fmla="*/ 3492 w 6895"/>
              <a:gd name="T27" fmla="*/ 144 h 9321"/>
              <a:gd name="T28" fmla="*/ 3949 w 6895"/>
              <a:gd name="T29" fmla="*/ 51 h 9321"/>
              <a:gd name="T30" fmla="*/ 4419 w 6895"/>
              <a:gd name="T31" fmla="*/ 4 h 9321"/>
              <a:gd name="T32" fmla="*/ 6895 w 6895"/>
              <a:gd name="T33" fmla="*/ 0 h 9321"/>
              <a:gd name="T34" fmla="*/ 6878 w 6895"/>
              <a:gd name="T35" fmla="*/ 8758 h 9321"/>
              <a:gd name="T36" fmla="*/ 6472 w 6895"/>
              <a:gd name="T37" fmla="*/ 8953 h 9321"/>
              <a:gd name="T38" fmla="*/ 6040 w 6895"/>
              <a:gd name="T39" fmla="*/ 9110 h 9321"/>
              <a:gd name="T40" fmla="*/ 5596 w 6895"/>
              <a:gd name="T41" fmla="*/ 9224 h 9321"/>
              <a:gd name="T42" fmla="*/ 5134 w 6895"/>
              <a:gd name="T43" fmla="*/ 9296 h 9321"/>
              <a:gd name="T44" fmla="*/ 4656 w 6895"/>
              <a:gd name="T45" fmla="*/ 9321 h 9321"/>
              <a:gd name="T46" fmla="*/ 4182 w 6895"/>
              <a:gd name="T47" fmla="*/ 9296 h 9321"/>
              <a:gd name="T48" fmla="*/ 3716 w 6895"/>
              <a:gd name="T49" fmla="*/ 9224 h 9321"/>
              <a:gd name="T50" fmla="*/ 3272 w 6895"/>
              <a:gd name="T51" fmla="*/ 9110 h 9321"/>
              <a:gd name="T52" fmla="*/ 2844 w 6895"/>
              <a:gd name="T53" fmla="*/ 8953 h 9321"/>
              <a:gd name="T54" fmla="*/ 2438 w 6895"/>
              <a:gd name="T55" fmla="*/ 8758 h 9321"/>
              <a:gd name="T56" fmla="*/ 2053 w 6895"/>
              <a:gd name="T57" fmla="*/ 8525 h 9321"/>
              <a:gd name="T58" fmla="*/ 1693 w 6895"/>
              <a:gd name="T59" fmla="*/ 8255 h 9321"/>
              <a:gd name="T60" fmla="*/ 1363 w 6895"/>
              <a:gd name="T61" fmla="*/ 7954 h 9321"/>
              <a:gd name="T62" fmla="*/ 1062 w 6895"/>
              <a:gd name="T63" fmla="*/ 7624 h 9321"/>
              <a:gd name="T64" fmla="*/ 796 w 6895"/>
              <a:gd name="T65" fmla="*/ 7264 h 9321"/>
              <a:gd name="T66" fmla="*/ 559 w 6895"/>
              <a:gd name="T67" fmla="*/ 6883 h 9321"/>
              <a:gd name="T68" fmla="*/ 364 w 6895"/>
              <a:gd name="T69" fmla="*/ 6472 h 9321"/>
              <a:gd name="T70" fmla="*/ 207 w 6895"/>
              <a:gd name="T71" fmla="*/ 6045 h 9321"/>
              <a:gd name="T72" fmla="*/ 93 w 6895"/>
              <a:gd name="T73" fmla="*/ 5600 h 9321"/>
              <a:gd name="T74" fmla="*/ 21 w 6895"/>
              <a:gd name="T75" fmla="*/ 5135 h 9321"/>
              <a:gd name="T76" fmla="*/ 0 w 6895"/>
              <a:gd name="T77" fmla="*/ 4661 h 9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895" h="9321">
                <a:moveTo>
                  <a:pt x="0" y="4661"/>
                </a:moveTo>
                <a:lnTo>
                  <a:pt x="4" y="4419"/>
                </a:lnTo>
                <a:lnTo>
                  <a:pt x="21" y="4182"/>
                </a:lnTo>
                <a:lnTo>
                  <a:pt x="51" y="3950"/>
                </a:lnTo>
                <a:lnTo>
                  <a:pt x="93" y="3721"/>
                </a:lnTo>
                <a:lnTo>
                  <a:pt x="144" y="3497"/>
                </a:lnTo>
                <a:lnTo>
                  <a:pt x="207" y="3272"/>
                </a:lnTo>
                <a:lnTo>
                  <a:pt x="279" y="3056"/>
                </a:lnTo>
                <a:lnTo>
                  <a:pt x="364" y="2845"/>
                </a:lnTo>
                <a:lnTo>
                  <a:pt x="457" y="2637"/>
                </a:lnTo>
                <a:lnTo>
                  <a:pt x="559" y="2438"/>
                </a:lnTo>
                <a:lnTo>
                  <a:pt x="673" y="2244"/>
                </a:lnTo>
                <a:lnTo>
                  <a:pt x="796" y="2053"/>
                </a:lnTo>
                <a:lnTo>
                  <a:pt x="923" y="1871"/>
                </a:lnTo>
                <a:lnTo>
                  <a:pt x="1062" y="1693"/>
                </a:lnTo>
                <a:lnTo>
                  <a:pt x="1210" y="1524"/>
                </a:lnTo>
                <a:lnTo>
                  <a:pt x="1363" y="1363"/>
                </a:lnTo>
                <a:lnTo>
                  <a:pt x="1524" y="1211"/>
                </a:lnTo>
                <a:lnTo>
                  <a:pt x="1693" y="1063"/>
                </a:lnTo>
                <a:lnTo>
                  <a:pt x="1871" y="923"/>
                </a:lnTo>
                <a:lnTo>
                  <a:pt x="2053" y="796"/>
                </a:lnTo>
                <a:lnTo>
                  <a:pt x="2243" y="673"/>
                </a:lnTo>
                <a:lnTo>
                  <a:pt x="2438" y="563"/>
                </a:lnTo>
                <a:lnTo>
                  <a:pt x="2637" y="457"/>
                </a:lnTo>
                <a:lnTo>
                  <a:pt x="2844" y="364"/>
                </a:lnTo>
                <a:lnTo>
                  <a:pt x="3056" y="280"/>
                </a:lnTo>
                <a:lnTo>
                  <a:pt x="3272" y="208"/>
                </a:lnTo>
                <a:lnTo>
                  <a:pt x="3492" y="144"/>
                </a:lnTo>
                <a:lnTo>
                  <a:pt x="3716" y="93"/>
                </a:lnTo>
                <a:lnTo>
                  <a:pt x="3949" y="51"/>
                </a:lnTo>
                <a:lnTo>
                  <a:pt x="4182" y="21"/>
                </a:lnTo>
                <a:lnTo>
                  <a:pt x="4419" y="4"/>
                </a:lnTo>
                <a:lnTo>
                  <a:pt x="4656" y="0"/>
                </a:lnTo>
                <a:lnTo>
                  <a:pt x="6895" y="0"/>
                </a:lnTo>
                <a:moveTo>
                  <a:pt x="6895" y="8748"/>
                </a:moveTo>
                <a:lnTo>
                  <a:pt x="6878" y="8758"/>
                </a:lnTo>
                <a:lnTo>
                  <a:pt x="6675" y="8860"/>
                </a:lnTo>
                <a:lnTo>
                  <a:pt x="6472" y="8953"/>
                </a:lnTo>
                <a:lnTo>
                  <a:pt x="6260" y="9038"/>
                </a:lnTo>
                <a:lnTo>
                  <a:pt x="6040" y="9110"/>
                </a:lnTo>
                <a:lnTo>
                  <a:pt x="5820" y="9173"/>
                </a:lnTo>
                <a:lnTo>
                  <a:pt x="5596" y="9224"/>
                </a:lnTo>
                <a:lnTo>
                  <a:pt x="5367" y="9266"/>
                </a:lnTo>
                <a:lnTo>
                  <a:pt x="5134" y="9296"/>
                </a:lnTo>
                <a:lnTo>
                  <a:pt x="4897" y="9313"/>
                </a:lnTo>
                <a:lnTo>
                  <a:pt x="4656" y="9321"/>
                </a:lnTo>
                <a:lnTo>
                  <a:pt x="4419" y="9313"/>
                </a:lnTo>
                <a:lnTo>
                  <a:pt x="4182" y="9296"/>
                </a:lnTo>
                <a:lnTo>
                  <a:pt x="3949" y="9266"/>
                </a:lnTo>
                <a:lnTo>
                  <a:pt x="3716" y="9224"/>
                </a:lnTo>
                <a:lnTo>
                  <a:pt x="3492" y="9173"/>
                </a:lnTo>
                <a:lnTo>
                  <a:pt x="3272" y="9110"/>
                </a:lnTo>
                <a:lnTo>
                  <a:pt x="3056" y="9038"/>
                </a:lnTo>
                <a:lnTo>
                  <a:pt x="2844" y="8953"/>
                </a:lnTo>
                <a:lnTo>
                  <a:pt x="2637" y="8860"/>
                </a:lnTo>
                <a:lnTo>
                  <a:pt x="2438" y="8758"/>
                </a:lnTo>
                <a:lnTo>
                  <a:pt x="2243" y="8644"/>
                </a:lnTo>
                <a:lnTo>
                  <a:pt x="2053" y="8525"/>
                </a:lnTo>
                <a:lnTo>
                  <a:pt x="1871" y="8394"/>
                </a:lnTo>
                <a:lnTo>
                  <a:pt x="1693" y="8255"/>
                </a:lnTo>
                <a:lnTo>
                  <a:pt x="1524" y="8111"/>
                </a:lnTo>
                <a:lnTo>
                  <a:pt x="1363" y="7954"/>
                </a:lnTo>
                <a:lnTo>
                  <a:pt x="1210" y="7793"/>
                </a:lnTo>
                <a:lnTo>
                  <a:pt x="1062" y="7624"/>
                </a:lnTo>
                <a:lnTo>
                  <a:pt x="923" y="7446"/>
                </a:lnTo>
                <a:lnTo>
                  <a:pt x="796" y="7264"/>
                </a:lnTo>
                <a:lnTo>
                  <a:pt x="673" y="7078"/>
                </a:lnTo>
                <a:lnTo>
                  <a:pt x="559" y="6883"/>
                </a:lnTo>
                <a:lnTo>
                  <a:pt x="457" y="6680"/>
                </a:lnTo>
                <a:lnTo>
                  <a:pt x="364" y="6472"/>
                </a:lnTo>
                <a:lnTo>
                  <a:pt x="279" y="6261"/>
                </a:lnTo>
                <a:lnTo>
                  <a:pt x="207" y="6045"/>
                </a:lnTo>
                <a:lnTo>
                  <a:pt x="144" y="5825"/>
                </a:lnTo>
                <a:lnTo>
                  <a:pt x="93" y="5600"/>
                </a:lnTo>
                <a:lnTo>
                  <a:pt x="51" y="5368"/>
                </a:lnTo>
                <a:lnTo>
                  <a:pt x="21" y="5135"/>
                </a:lnTo>
                <a:lnTo>
                  <a:pt x="4" y="4898"/>
                </a:lnTo>
                <a:lnTo>
                  <a:pt x="0" y="4661"/>
                </a:lnTo>
              </a:path>
            </a:pathLst>
          </a:custGeom>
          <a:noFill/>
          <a:ln w="12700" cap="flat">
            <a:solidFill>
              <a:srgbClr val="66C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1" name="Freeform 6"/>
          <p:cNvSpPr>
            <a:spLocks noEditPoints="1"/>
          </p:cNvSpPr>
          <p:nvPr userDrawn="1"/>
        </p:nvSpPr>
        <p:spPr bwMode="auto">
          <a:xfrm>
            <a:off x="5612720" y="-4763"/>
            <a:ext cx="2073275" cy="5154613"/>
          </a:xfrm>
          <a:custGeom>
            <a:avLst/>
            <a:gdLst>
              <a:gd name="T0" fmla="*/ 0 w 5748"/>
              <a:gd name="T1" fmla="*/ 7564 h 14286"/>
              <a:gd name="T2" fmla="*/ 21 w 5748"/>
              <a:gd name="T3" fmla="*/ 7145 h 14286"/>
              <a:gd name="T4" fmla="*/ 63 w 5748"/>
              <a:gd name="T5" fmla="*/ 6739 h 14286"/>
              <a:gd name="T6" fmla="*/ 127 w 5748"/>
              <a:gd name="T7" fmla="*/ 6332 h 14286"/>
              <a:gd name="T8" fmla="*/ 207 w 5748"/>
              <a:gd name="T9" fmla="*/ 5939 h 14286"/>
              <a:gd name="T10" fmla="*/ 305 w 5748"/>
              <a:gd name="T11" fmla="*/ 5549 h 14286"/>
              <a:gd name="T12" fmla="*/ 427 w 5748"/>
              <a:gd name="T13" fmla="*/ 5168 h 14286"/>
              <a:gd name="T14" fmla="*/ 563 w 5748"/>
              <a:gd name="T15" fmla="*/ 4791 h 14286"/>
              <a:gd name="T16" fmla="*/ 715 w 5748"/>
              <a:gd name="T17" fmla="*/ 4427 h 14286"/>
              <a:gd name="T18" fmla="*/ 978 w 5748"/>
              <a:gd name="T19" fmla="*/ 3898 h 14286"/>
              <a:gd name="T20" fmla="*/ 1388 w 5748"/>
              <a:gd name="T21" fmla="*/ 3229 h 14286"/>
              <a:gd name="T22" fmla="*/ 1854 w 5748"/>
              <a:gd name="T23" fmla="*/ 2603 h 14286"/>
              <a:gd name="T24" fmla="*/ 2379 w 5748"/>
              <a:gd name="T25" fmla="*/ 2027 h 14286"/>
              <a:gd name="T26" fmla="*/ 2955 w 5748"/>
              <a:gd name="T27" fmla="*/ 1502 h 14286"/>
              <a:gd name="T28" fmla="*/ 3581 w 5748"/>
              <a:gd name="T29" fmla="*/ 1037 h 14286"/>
              <a:gd name="T30" fmla="*/ 4250 w 5748"/>
              <a:gd name="T31" fmla="*/ 626 h 14286"/>
              <a:gd name="T32" fmla="*/ 4779 w 5748"/>
              <a:gd name="T33" fmla="*/ 364 h 14286"/>
              <a:gd name="T34" fmla="*/ 5143 w 5748"/>
              <a:gd name="T35" fmla="*/ 211 h 14286"/>
              <a:gd name="T36" fmla="*/ 5520 w 5748"/>
              <a:gd name="T37" fmla="*/ 76 h 14286"/>
              <a:gd name="T38" fmla="*/ 5748 w 5748"/>
              <a:gd name="T39" fmla="*/ 0 h 14286"/>
              <a:gd name="T40" fmla="*/ 3264 w 5748"/>
              <a:gd name="T41" fmla="*/ 14282 h 14286"/>
              <a:gd name="T42" fmla="*/ 2662 w 5748"/>
              <a:gd name="T43" fmla="*/ 13787 h 14286"/>
              <a:gd name="T44" fmla="*/ 2108 w 5748"/>
              <a:gd name="T45" fmla="*/ 13236 h 14286"/>
              <a:gd name="T46" fmla="*/ 1613 w 5748"/>
              <a:gd name="T47" fmla="*/ 12635 h 14286"/>
              <a:gd name="T48" fmla="*/ 1177 w 5748"/>
              <a:gd name="T49" fmla="*/ 11988 h 14286"/>
              <a:gd name="T50" fmla="*/ 800 w 5748"/>
              <a:gd name="T51" fmla="*/ 11293 h 14286"/>
              <a:gd name="T52" fmla="*/ 639 w 5748"/>
              <a:gd name="T53" fmla="*/ 10934 h 14286"/>
              <a:gd name="T54" fmla="*/ 491 w 5748"/>
              <a:gd name="T55" fmla="*/ 10565 h 14286"/>
              <a:gd name="T56" fmla="*/ 364 w 5748"/>
              <a:gd name="T57" fmla="*/ 10189 h 14286"/>
              <a:gd name="T58" fmla="*/ 254 w 5748"/>
              <a:gd name="T59" fmla="*/ 9803 h 14286"/>
              <a:gd name="T60" fmla="*/ 165 w 5748"/>
              <a:gd name="T61" fmla="*/ 9410 h 14286"/>
              <a:gd name="T62" fmla="*/ 93 w 5748"/>
              <a:gd name="T63" fmla="*/ 9012 h 14286"/>
              <a:gd name="T64" fmla="*/ 42 w 5748"/>
              <a:gd name="T65" fmla="*/ 8601 h 14286"/>
              <a:gd name="T66" fmla="*/ 8 w 5748"/>
              <a:gd name="T67" fmla="*/ 8191 h 14286"/>
              <a:gd name="T68" fmla="*/ 0 w 5748"/>
              <a:gd name="T69" fmla="*/ 7771 h 14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748" h="14286">
                <a:moveTo>
                  <a:pt x="0" y="7771"/>
                </a:moveTo>
                <a:lnTo>
                  <a:pt x="0" y="7564"/>
                </a:lnTo>
                <a:lnTo>
                  <a:pt x="8" y="7352"/>
                </a:lnTo>
                <a:lnTo>
                  <a:pt x="21" y="7145"/>
                </a:lnTo>
                <a:lnTo>
                  <a:pt x="42" y="6942"/>
                </a:lnTo>
                <a:lnTo>
                  <a:pt x="63" y="6739"/>
                </a:lnTo>
                <a:lnTo>
                  <a:pt x="93" y="6535"/>
                </a:lnTo>
                <a:lnTo>
                  <a:pt x="127" y="6332"/>
                </a:lnTo>
                <a:lnTo>
                  <a:pt x="165" y="6133"/>
                </a:lnTo>
                <a:lnTo>
                  <a:pt x="207" y="5939"/>
                </a:lnTo>
                <a:lnTo>
                  <a:pt x="254" y="5740"/>
                </a:lnTo>
                <a:lnTo>
                  <a:pt x="305" y="5549"/>
                </a:lnTo>
                <a:lnTo>
                  <a:pt x="364" y="5354"/>
                </a:lnTo>
                <a:lnTo>
                  <a:pt x="427" y="5168"/>
                </a:lnTo>
                <a:lnTo>
                  <a:pt x="491" y="4978"/>
                </a:lnTo>
                <a:lnTo>
                  <a:pt x="563" y="4791"/>
                </a:lnTo>
                <a:lnTo>
                  <a:pt x="639" y="4609"/>
                </a:lnTo>
                <a:lnTo>
                  <a:pt x="715" y="4427"/>
                </a:lnTo>
                <a:lnTo>
                  <a:pt x="800" y="4250"/>
                </a:lnTo>
                <a:lnTo>
                  <a:pt x="978" y="3898"/>
                </a:lnTo>
                <a:lnTo>
                  <a:pt x="1177" y="3560"/>
                </a:lnTo>
                <a:lnTo>
                  <a:pt x="1388" y="3229"/>
                </a:lnTo>
                <a:lnTo>
                  <a:pt x="1613" y="2912"/>
                </a:lnTo>
                <a:lnTo>
                  <a:pt x="1854" y="2603"/>
                </a:lnTo>
                <a:lnTo>
                  <a:pt x="2108" y="2311"/>
                </a:lnTo>
                <a:lnTo>
                  <a:pt x="2379" y="2027"/>
                </a:lnTo>
                <a:lnTo>
                  <a:pt x="2662" y="1756"/>
                </a:lnTo>
                <a:lnTo>
                  <a:pt x="2955" y="1502"/>
                </a:lnTo>
                <a:lnTo>
                  <a:pt x="3264" y="1261"/>
                </a:lnTo>
                <a:lnTo>
                  <a:pt x="3581" y="1037"/>
                </a:lnTo>
                <a:lnTo>
                  <a:pt x="3911" y="825"/>
                </a:lnTo>
                <a:lnTo>
                  <a:pt x="4250" y="626"/>
                </a:lnTo>
                <a:lnTo>
                  <a:pt x="4601" y="448"/>
                </a:lnTo>
                <a:lnTo>
                  <a:pt x="4779" y="364"/>
                </a:lnTo>
                <a:lnTo>
                  <a:pt x="4961" y="288"/>
                </a:lnTo>
                <a:lnTo>
                  <a:pt x="5143" y="211"/>
                </a:lnTo>
                <a:lnTo>
                  <a:pt x="5329" y="139"/>
                </a:lnTo>
                <a:lnTo>
                  <a:pt x="5520" y="76"/>
                </a:lnTo>
                <a:lnTo>
                  <a:pt x="5706" y="12"/>
                </a:lnTo>
                <a:lnTo>
                  <a:pt x="5748" y="0"/>
                </a:lnTo>
                <a:moveTo>
                  <a:pt x="3269" y="14286"/>
                </a:moveTo>
                <a:lnTo>
                  <a:pt x="3264" y="14282"/>
                </a:lnTo>
                <a:lnTo>
                  <a:pt x="2955" y="14041"/>
                </a:lnTo>
                <a:lnTo>
                  <a:pt x="2662" y="13787"/>
                </a:lnTo>
                <a:lnTo>
                  <a:pt x="2379" y="13520"/>
                </a:lnTo>
                <a:lnTo>
                  <a:pt x="2108" y="13236"/>
                </a:lnTo>
                <a:lnTo>
                  <a:pt x="1854" y="12940"/>
                </a:lnTo>
                <a:lnTo>
                  <a:pt x="1613" y="12635"/>
                </a:lnTo>
                <a:lnTo>
                  <a:pt x="1388" y="12313"/>
                </a:lnTo>
                <a:lnTo>
                  <a:pt x="1177" y="11988"/>
                </a:lnTo>
                <a:lnTo>
                  <a:pt x="978" y="11645"/>
                </a:lnTo>
                <a:lnTo>
                  <a:pt x="800" y="11293"/>
                </a:lnTo>
                <a:lnTo>
                  <a:pt x="715" y="11116"/>
                </a:lnTo>
                <a:lnTo>
                  <a:pt x="639" y="10934"/>
                </a:lnTo>
                <a:lnTo>
                  <a:pt x="563" y="10751"/>
                </a:lnTo>
                <a:lnTo>
                  <a:pt x="491" y="10565"/>
                </a:lnTo>
                <a:lnTo>
                  <a:pt x="427" y="10379"/>
                </a:lnTo>
                <a:lnTo>
                  <a:pt x="364" y="10189"/>
                </a:lnTo>
                <a:lnTo>
                  <a:pt x="305" y="9998"/>
                </a:lnTo>
                <a:lnTo>
                  <a:pt x="254" y="9803"/>
                </a:lnTo>
                <a:lnTo>
                  <a:pt x="207" y="9609"/>
                </a:lnTo>
                <a:lnTo>
                  <a:pt x="165" y="9410"/>
                </a:lnTo>
                <a:lnTo>
                  <a:pt x="127" y="9211"/>
                </a:lnTo>
                <a:lnTo>
                  <a:pt x="93" y="9012"/>
                </a:lnTo>
                <a:lnTo>
                  <a:pt x="63" y="8809"/>
                </a:lnTo>
                <a:lnTo>
                  <a:pt x="42" y="8601"/>
                </a:lnTo>
                <a:lnTo>
                  <a:pt x="21" y="8398"/>
                </a:lnTo>
                <a:lnTo>
                  <a:pt x="8" y="8191"/>
                </a:lnTo>
                <a:lnTo>
                  <a:pt x="0" y="7983"/>
                </a:lnTo>
                <a:lnTo>
                  <a:pt x="0" y="7771"/>
                </a:lnTo>
              </a:path>
            </a:pathLst>
          </a:custGeom>
          <a:noFill/>
          <a:ln w="12700" cap="flat">
            <a:solidFill>
              <a:srgbClr val="66AADD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845173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ection Header 3 with Backgroun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ardrop 8"/>
          <p:cNvSpPr/>
          <p:nvPr userDrawn="1"/>
        </p:nvSpPr>
        <p:spPr>
          <a:xfrm>
            <a:off x="5843839" y="321022"/>
            <a:ext cx="1901203" cy="1901203"/>
          </a:xfrm>
          <a:prstGeom prst="teardrop">
            <a:avLst/>
          </a:prstGeom>
          <a:noFill/>
          <a:ln w="12700" cmpd="sng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727200" y="1774800"/>
            <a:ext cx="4654800" cy="1594800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</a:t>
            </a:r>
            <a:br>
              <a:rPr lang="fi-FI"/>
            </a:br>
            <a:r>
              <a:rPr lang="fi-FI"/>
              <a:t>Master title style</a:t>
            </a:r>
            <a:endParaRPr lang="fi-FI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6647770" y="889000"/>
            <a:ext cx="2487613" cy="3363913"/>
          </a:xfrm>
          <a:custGeom>
            <a:avLst/>
            <a:gdLst>
              <a:gd name="T0" fmla="*/ 4 w 6895"/>
              <a:gd name="T1" fmla="*/ 4419 h 9321"/>
              <a:gd name="T2" fmla="*/ 51 w 6895"/>
              <a:gd name="T3" fmla="*/ 3950 h 9321"/>
              <a:gd name="T4" fmla="*/ 144 w 6895"/>
              <a:gd name="T5" fmla="*/ 3497 h 9321"/>
              <a:gd name="T6" fmla="*/ 279 w 6895"/>
              <a:gd name="T7" fmla="*/ 3056 h 9321"/>
              <a:gd name="T8" fmla="*/ 457 w 6895"/>
              <a:gd name="T9" fmla="*/ 2637 h 9321"/>
              <a:gd name="T10" fmla="*/ 673 w 6895"/>
              <a:gd name="T11" fmla="*/ 2244 h 9321"/>
              <a:gd name="T12" fmla="*/ 923 w 6895"/>
              <a:gd name="T13" fmla="*/ 1871 h 9321"/>
              <a:gd name="T14" fmla="*/ 1210 w 6895"/>
              <a:gd name="T15" fmla="*/ 1524 h 9321"/>
              <a:gd name="T16" fmla="*/ 1524 w 6895"/>
              <a:gd name="T17" fmla="*/ 1211 h 9321"/>
              <a:gd name="T18" fmla="*/ 1871 w 6895"/>
              <a:gd name="T19" fmla="*/ 923 h 9321"/>
              <a:gd name="T20" fmla="*/ 2243 w 6895"/>
              <a:gd name="T21" fmla="*/ 673 h 9321"/>
              <a:gd name="T22" fmla="*/ 2637 w 6895"/>
              <a:gd name="T23" fmla="*/ 457 h 9321"/>
              <a:gd name="T24" fmla="*/ 3056 w 6895"/>
              <a:gd name="T25" fmla="*/ 280 h 9321"/>
              <a:gd name="T26" fmla="*/ 3492 w 6895"/>
              <a:gd name="T27" fmla="*/ 144 h 9321"/>
              <a:gd name="T28" fmla="*/ 3949 w 6895"/>
              <a:gd name="T29" fmla="*/ 51 h 9321"/>
              <a:gd name="T30" fmla="*/ 4419 w 6895"/>
              <a:gd name="T31" fmla="*/ 4 h 9321"/>
              <a:gd name="T32" fmla="*/ 6895 w 6895"/>
              <a:gd name="T33" fmla="*/ 0 h 9321"/>
              <a:gd name="T34" fmla="*/ 6878 w 6895"/>
              <a:gd name="T35" fmla="*/ 8758 h 9321"/>
              <a:gd name="T36" fmla="*/ 6472 w 6895"/>
              <a:gd name="T37" fmla="*/ 8953 h 9321"/>
              <a:gd name="T38" fmla="*/ 6040 w 6895"/>
              <a:gd name="T39" fmla="*/ 9110 h 9321"/>
              <a:gd name="T40" fmla="*/ 5596 w 6895"/>
              <a:gd name="T41" fmla="*/ 9224 h 9321"/>
              <a:gd name="T42" fmla="*/ 5134 w 6895"/>
              <a:gd name="T43" fmla="*/ 9296 h 9321"/>
              <a:gd name="T44" fmla="*/ 4656 w 6895"/>
              <a:gd name="T45" fmla="*/ 9321 h 9321"/>
              <a:gd name="T46" fmla="*/ 4182 w 6895"/>
              <a:gd name="T47" fmla="*/ 9296 h 9321"/>
              <a:gd name="T48" fmla="*/ 3716 w 6895"/>
              <a:gd name="T49" fmla="*/ 9224 h 9321"/>
              <a:gd name="T50" fmla="*/ 3272 w 6895"/>
              <a:gd name="T51" fmla="*/ 9110 h 9321"/>
              <a:gd name="T52" fmla="*/ 2844 w 6895"/>
              <a:gd name="T53" fmla="*/ 8953 h 9321"/>
              <a:gd name="T54" fmla="*/ 2438 w 6895"/>
              <a:gd name="T55" fmla="*/ 8758 h 9321"/>
              <a:gd name="T56" fmla="*/ 2053 w 6895"/>
              <a:gd name="T57" fmla="*/ 8525 h 9321"/>
              <a:gd name="T58" fmla="*/ 1693 w 6895"/>
              <a:gd name="T59" fmla="*/ 8255 h 9321"/>
              <a:gd name="T60" fmla="*/ 1363 w 6895"/>
              <a:gd name="T61" fmla="*/ 7954 h 9321"/>
              <a:gd name="T62" fmla="*/ 1062 w 6895"/>
              <a:gd name="T63" fmla="*/ 7624 h 9321"/>
              <a:gd name="T64" fmla="*/ 796 w 6895"/>
              <a:gd name="T65" fmla="*/ 7264 h 9321"/>
              <a:gd name="T66" fmla="*/ 559 w 6895"/>
              <a:gd name="T67" fmla="*/ 6883 h 9321"/>
              <a:gd name="T68" fmla="*/ 364 w 6895"/>
              <a:gd name="T69" fmla="*/ 6472 h 9321"/>
              <a:gd name="T70" fmla="*/ 207 w 6895"/>
              <a:gd name="T71" fmla="*/ 6045 h 9321"/>
              <a:gd name="T72" fmla="*/ 93 w 6895"/>
              <a:gd name="T73" fmla="*/ 5600 h 9321"/>
              <a:gd name="T74" fmla="*/ 21 w 6895"/>
              <a:gd name="T75" fmla="*/ 5135 h 9321"/>
              <a:gd name="T76" fmla="*/ 0 w 6895"/>
              <a:gd name="T77" fmla="*/ 4661 h 9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895" h="9321">
                <a:moveTo>
                  <a:pt x="0" y="4661"/>
                </a:moveTo>
                <a:lnTo>
                  <a:pt x="4" y="4419"/>
                </a:lnTo>
                <a:lnTo>
                  <a:pt x="21" y="4182"/>
                </a:lnTo>
                <a:lnTo>
                  <a:pt x="51" y="3950"/>
                </a:lnTo>
                <a:lnTo>
                  <a:pt x="93" y="3721"/>
                </a:lnTo>
                <a:lnTo>
                  <a:pt x="144" y="3497"/>
                </a:lnTo>
                <a:lnTo>
                  <a:pt x="207" y="3272"/>
                </a:lnTo>
                <a:lnTo>
                  <a:pt x="279" y="3056"/>
                </a:lnTo>
                <a:lnTo>
                  <a:pt x="364" y="2845"/>
                </a:lnTo>
                <a:lnTo>
                  <a:pt x="457" y="2637"/>
                </a:lnTo>
                <a:lnTo>
                  <a:pt x="559" y="2438"/>
                </a:lnTo>
                <a:lnTo>
                  <a:pt x="673" y="2244"/>
                </a:lnTo>
                <a:lnTo>
                  <a:pt x="796" y="2053"/>
                </a:lnTo>
                <a:lnTo>
                  <a:pt x="923" y="1871"/>
                </a:lnTo>
                <a:lnTo>
                  <a:pt x="1062" y="1693"/>
                </a:lnTo>
                <a:lnTo>
                  <a:pt x="1210" y="1524"/>
                </a:lnTo>
                <a:lnTo>
                  <a:pt x="1363" y="1363"/>
                </a:lnTo>
                <a:lnTo>
                  <a:pt x="1524" y="1211"/>
                </a:lnTo>
                <a:lnTo>
                  <a:pt x="1693" y="1063"/>
                </a:lnTo>
                <a:lnTo>
                  <a:pt x="1871" y="923"/>
                </a:lnTo>
                <a:lnTo>
                  <a:pt x="2053" y="796"/>
                </a:lnTo>
                <a:lnTo>
                  <a:pt x="2243" y="673"/>
                </a:lnTo>
                <a:lnTo>
                  <a:pt x="2438" y="563"/>
                </a:lnTo>
                <a:lnTo>
                  <a:pt x="2637" y="457"/>
                </a:lnTo>
                <a:lnTo>
                  <a:pt x="2844" y="364"/>
                </a:lnTo>
                <a:lnTo>
                  <a:pt x="3056" y="280"/>
                </a:lnTo>
                <a:lnTo>
                  <a:pt x="3272" y="208"/>
                </a:lnTo>
                <a:lnTo>
                  <a:pt x="3492" y="144"/>
                </a:lnTo>
                <a:lnTo>
                  <a:pt x="3716" y="93"/>
                </a:lnTo>
                <a:lnTo>
                  <a:pt x="3949" y="51"/>
                </a:lnTo>
                <a:lnTo>
                  <a:pt x="4182" y="21"/>
                </a:lnTo>
                <a:lnTo>
                  <a:pt x="4419" y="4"/>
                </a:lnTo>
                <a:lnTo>
                  <a:pt x="4656" y="0"/>
                </a:lnTo>
                <a:lnTo>
                  <a:pt x="6895" y="0"/>
                </a:lnTo>
                <a:moveTo>
                  <a:pt x="6895" y="8748"/>
                </a:moveTo>
                <a:lnTo>
                  <a:pt x="6878" y="8758"/>
                </a:lnTo>
                <a:lnTo>
                  <a:pt x="6675" y="8860"/>
                </a:lnTo>
                <a:lnTo>
                  <a:pt x="6472" y="8953"/>
                </a:lnTo>
                <a:lnTo>
                  <a:pt x="6260" y="9038"/>
                </a:lnTo>
                <a:lnTo>
                  <a:pt x="6040" y="9110"/>
                </a:lnTo>
                <a:lnTo>
                  <a:pt x="5820" y="9173"/>
                </a:lnTo>
                <a:lnTo>
                  <a:pt x="5596" y="9224"/>
                </a:lnTo>
                <a:lnTo>
                  <a:pt x="5367" y="9266"/>
                </a:lnTo>
                <a:lnTo>
                  <a:pt x="5134" y="9296"/>
                </a:lnTo>
                <a:lnTo>
                  <a:pt x="4897" y="9313"/>
                </a:lnTo>
                <a:lnTo>
                  <a:pt x="4656" y="9321"/>
                </a:lnTo>
                <a:lnTo>
                  <a:pt x="4419" y="9313"/>
                </a:lnTo>
                <a:lnTo>
                  <a:pt x="4182" y="9296"/>
                </a:lnTo>
                <a:lnTo>
                  <a:pt x="3949" y="9266"/>
                </a:lnTo>
                <a:lnTo>
                  <a:pt x="3716" y="9224"/>
                </a:lnTo>
                <a:lnTo>
                  <a:pt x="3492" y="9173"/>
                </a:lnTo>
                <a:lnTo>
                  <a:pt x="3272" y="9110"/>
                </a:lnTo>
                <a:lnTo>
                  <a:pt x="3056" y="9038"/>
                </a:lnTo>
                <a:lnTo>
                  <a:pt x="2844" y="8953"/>
                </a:lnTo>
                <a:lnTo>
                  <a:pt x="2637" y="8860"/>
                </a:lnTo>
                <a:lnTo>
                  <a:pt x="2438" y="8758"/>
                </a:lnTo>
                <a:lnTo>
                  <a:pt x="2243" y="8644"/>
                </a:lnTo>
                <a:lnTo>
                  <a:pt x="2053" y="8525"/>
                </a:lnTo>
                <a:lnTo>
                  <a:pt x="1871" y="8394"/>
                </a:lnTo>
                <a:lnTo>
                  <a:pt x="1693" y="8255"/>
                </a:lnTo>
                <a:lnTo>
                  <a:pt x="1524" y="8111"/>
                </a:lnTo>
                <a:lnTo>
                  <a:pt x="1363" y="7954"/>
                </a:lnTo>
                <a:lnTo>
                  <a:pt x="1210" y="7793"/>
                </a:lnTo>
                <a:lnTo>
                  <a:pt x="1062" y="7624"/>
                </a:lnTo>
                <a:lnTo>
                  <a:pt x="923" y="7446"/>
                </a:lnTo>
                <a:lnTo>
                  <a:pt x="796" y="7264"/>
                </a:lnTo>
                <a:lnTo>
                  <a:pt x="673" y="7078"/>
                </a:lnTo>
                <a:lnTo>
                  <a:pt x="559" y="6883"/>
                </a:lnTo>
                <a:lnTo>
                  <a:pt x="457" y="6680"/>
                </a:lnTo>
                <a:lnTo>
                  <a:pt x="364" y="6472"/>
                </a:lnTo>
                <a:lnTo>
                  <a:pt x="279" y="6261"/>
                </a:lnTo>
                <a:lnTo>
                  <a:pt x="207" y="6045"/>
                </a:lnTo>
                <a:lnTo>
                  <a:pt x="144" y="5825"/>
                </a:lnTo>
                <a:lnTo>
                  <a:pt x="93" y="5600"/>
                </a:lnTo>
                <a:lnTo>
                  <a:pt x="51" y="5368"/>
                </a:lnTo>
                <a:lnTo>
                  <a:pt x="21" y="5135"/>
                </a:lnTo>
                <a:lnTo>
                  <a:pt x="4" y="4898"/>
                </a:lnTo>
                <a:lnTo>
                  <a:pt x="0" y="4661"/>
                </a:lnTo>
              </a:path>
            </a:pathLst>
          </a:custGeom>
          <a:noFill/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4" name="Freeform 6"/>
          <p:cNvSpPr>
            <a:spLocks noEditPoints="1"/>
          </p:cNvSpPr>
          <p:nvPr userDrawn="1"/>
        </p:nvSpPr>
        <p:spPr bwMode="auto">
          <a:xfrm>
            <a:off x="5612720" y="-4763"/>
            <a:ext cx="2073275" cy="5154613"/>
          </a:xfrm>
          <a:custGeom>
            <a:avLst/>
            <a:gdLst>
              <a:gd name="T0" fmla="*/ 0 w 5748"/>
              <a:gd name="T1" fmla="*/ 7564 h 14286"/>
              <a:gd name="T2" fmla="*/ 21 w 5748"/>
              <a:gd name="T3" fmla="*/ 7145 h 14286"/>
              <a:gd name="T4" fmla="*/ 63 w 5748"/>
              <a:gd name="T5" fmla="*/ 6739 h 14286"/>
              <a:gd name="T6" fmla="*/ 127 w 5748"/>
              <a:gd name="T7" fmla="*/ 6332 h 14286"/>
              <a:gd name="T8" fmla="*/ 207 w 5748"/>
              <a:gd name="T9" fmla="*/ 5939 h 14286"/>
              <a:gd name="T10" fmla="*/ 305 w 5748"/>
              <a:gd name="T11" fmla="*/ 5549 h 14286"/>
              <a:gd name="T12" fmla="*/ 427 w 5748"/>
              <a:gd name="T13" fmla="*/ 5168 h 14286"/>
              <a:gd name="T14" fmla="*/ 563 w 5748"/>
              <a:gd name="T15" fmla="*/ 4791 h 14286"/>
              <a:gd name="T16" fmla="*/ 715 w 5748"/>
              <a:gd name="T17" fmla="*/ 4427 h 14286"/>
              <a:gd name="T18" fmla="*/ 978 w 5748"/>
              <a:gd name="T19" fmla="*/ 3898 h 14286"/>
              <a:gd name="T20" fmla="*/ 1388 w 5748"/>
              <a:gd name="T21" fmla="*/ 3229 h 14286"/>
              <a:gd name="T22" fmla="*/ 1854 w 5748"/>
              <a:gd name="T23" fmla="*/ 2603 h 14286"/>
              <a:gd name="T24" fmla="*/ 2379 w 5748"/>
              <a:gd name="T25" fmla="*/ 2027 h 14286"/>
              <a:gd name="T26" fmla="*/ 2955 w 5748"/>
              <a:gd name="T27" fmla="*/ 1502 h 14286"/>
              <a:gd name="T28" fmla="*/ 3581 w 5748"/>
              <a:gd name="T29" fmla="*/ 1037 h 14286"/>
              <a:gd name="T30" fmla="*/ 4250 w 5748"/>
              <a:gd name="T31" fmla="*/ 626 h 14286"/>
              <a:gd name="T32" fmla="*/ 4779 w 5748"/>
              <a:gd name="T33" fmla="*/ 364 h 14286"/>
              <a:gd name="T34" fmla="*/ 5143 w 5748"/>
              <a:gd name="T35" fmla="*/ 211 h 14286"/>
              <a:gd name="T36" fmla="*/ 5520 w 5748"/>
              <a:gd name="T37" fmla="*/ 76 h 14286"/>
              <a:gd name="T38" fmla="*/ 5748 w 5748"/>
              <a:gd name="T39" fmla="*/ 0 h 14286"/>
              <a:gd name="T40" fmla="*/ 3264 w 5748"/>
              <a:gd name="T41" fmla="*/ 14282 h 14286"/>
              <a:gd name="T42" fmla="*/ 2662 w 5748"/>
              <a:gd name="T43" fmla="*/ 13787 h 14286"/>
              <a:gd name="T44" fmla="*/ 2108 w 5748"/>
              <a:gd name="T45" fmla="*/ 13236 h 14286"/>
              <a:gd name="T46" fmla="*/ 1613 w 5748"/>
              <a:gd name="T47" fmla="*/ 12635 h 14286"/>
              <a:gd name="T48" fmla="*/ 1177 w 5748"/>
              <a:gd name="T49" fmla="*/ 11988 h 14286"/>
              <a:gd name="T50" fmla="*/ 800 w 5748"/>
              <a:gd name="T51" fmla="*/ 11293 h 14286"/>
              <a:gd name="T52" fmla="*/ 639 w 5748"/>
              <a:gd name="T53" fmla="*/ 10934 h 14286"/>
              <a:gd name="T54" fmla="*/ 491 w 5748"/>
              <a:gd name="T55" fmla="*/ 10565 h 14286"/>
              <a:gd name="T56" fmla="*/ 364 w 5748"/>
              <a:gd name="T57" fmla="*/ 10189 h 14286"/>
              <a:gd name="T58" fmla="*/ 254 w 5748"/>
              <a:gd name="T59" fmla="*/ 9803 h 14286"/>
              <a:gd name="T60" fmla="*/ 165 w 5748"/>
              <a:gd name="T61" fmla="*/ 9410 h 14286"/>
              <a:gd name="T62" fmla="*/ 93 w 5748"/>
              <a:gd name="T63" fmla="*/ 9012 h 14286"/>
              <a:gd name="T64" fmla="*/ 42 w 5748"/>
              <a:gd name="T65" fmla="*/ 8601 h 14286"/>
              <a:gd name="T66" fmla="*/ 8 w 5748"/>
              <a:gd name="T67" fmla="*/ 8191 h 14286"/>
              <a:gd name="T68" fmla="*/ 0 w 5748"/>
              <a:gd name="T69" fmla="*/ 7771 h 14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748" h="14286">
                <a:moveTo>
                  <a:pt x="0" y="7771"/>
                </a:moveTo>
                <a:lnTo>
                  <a:pt x="0" y="7564"/>
                </a:lnTo>
                <a:lnTo>
                  <a:pt x="8" y="7352"/>
                </a:lnTo>
                <a:lnTo>
                  <a:pt x="21" y="7145"/>
                </a:lnTo>
                <a:lnTo>
                  <a:pt x="42" y="6942"/>
                </a:lnTo>
                <a:lnTo>
                  <a:pt x="63" y="6739"/>
                </a:lnTo>
                <a:lnTo>
                  <a:pt x="93" y="6535"/>
                </a:lnTo>
                <a:lnTo>
                  <a:pt x="127" y="6332"/>
                </a:lnTo>
                <a:lnTo>
                  <a:pt x="165" y="6133"/>
                </a:lnTo>
                <a:lnTo>
                  <a:pt x="207" y="5939"/>
                </a:lnTo>
                <a:lnTo>
                  <a:pt x="254" y="5740"/>
                </a:lnTo>
                <a:lnTo>
                  <a:pt x="305" y="5549"/>
                </a:lnTo>
                <a:lnTo>
                  <a:pt x="364" y="5354"/>
                </a:lnTo>
                <a:lnTo>
                  <a:pt x="427" y="5168"/>
                </a:lnTo>
                <a:lnTo>
                  <a:pt x="491" y="4978"/>
                </a:lnTo>
                <a:lnTo>
                  <a:pt x="563" y="4791"/>
                </a:lnTo>
                <a:lnTo>
                  <a:pt x="639" y="4609"/>
                </a:lnTo>
                <a:lnTo>
                  <a:pt x="715" y="4427"/>
                </a:lnTo>
                <a:lnTo>
                  <a:pt x="800" y="4250"/>
                </a:lnTo>
                <a:lnTo>
                  <a:pt x="978" y="3898"/>
                </a:lnTo>
                <a:lnTo>
                  <a:pt x="1177" y="3560"/>
                </a:lnTo>
                <a:lnTo>
                  <a:pt x="1388" y="3229"/>
                </a:lnTo>
                <a:lnTo>
                  <a:pt x="1613" y="2912"/>
                </a:lnTo>
                <a:lnTo>
                  <a:pt x="1854" y="2603"/>
                </a:lnTo>
                <a:lnTo>
                  <a:pt x="2108" y="2311"/>
                </a:lnTo>
                <a:lnTo>
                  <a:pt x="2379" y="2027"/>
                </a:lnTo>
                <a:lnTo>
                  <a:pt x="2662" y="1756"/>
                </a:lnTo>
                <a:lnTo>
                  <a:pt x="2955" y="1502"/>
                </a:lnTo>
                <a:lnTo>
                  <a:pt x="3264" y="1261"/>
                </a:lnTo>
                <a:lnTo>
                  <a:pt x="3581" y="1037"/>
                </a:lnTo>
                <a:lnTo>
                  <a:pt x="3911" y="825"/>
                </a:lnTo>
                <a:lnTo>
                  <a:pt x="4250" y="626"/>
                </a:lnTo>
                <a:lnTo>
                  <a:pt x="4601" y="448"/>
                </a:lnTo>
                <a:lnTo>
                  <a:pt x="4779" y="364"/>
                </a:lnTo>
                <a:lnTo>
                  <a:pt x="4961" y="288"/>
                </a:lnTo>
                <a:lnTo>
                  <a:pt x="5143" y="211"/>
                </a:lnTo>
                <a:lnTo>
                  <a:pt x="5329" y="139"/>
                </a:lnTo>
                <a:lnTo>
                  <a:pt x="5520" y="76"/>
                </a:lnTo>
                <a:lnTo>
                  <a:pt x="5706" y="12"/>
                </a:lnTo>
                <a:lnTo>
                  <a:pt x="5748" y="0"/>
                </a:lnTo>
                <a:moveTo>
                  <a:pt x="3269" y="14286"/>
                </a:moveTo>
                <a:lnTo>
                  <a:pt x="3264" y="14282"/>
                </a:lnTo>
                <a:lnTo>
                  <a:pt x="2955" y="14041"/>
                </a:lnTo>
                <a:lnTo>
                  <a:pt x="2662" y="13787"/>
                </a:lnTo>
                <a:lnTo>
                  <a:pt x="2379" y="13520"/>
                </a:lnTo>
                <a:lnTo>
                  <a:pt x="2108" y="13236"/>
                </a:lnTo>
                <a:lnTo>
                  <a:pt x="1854" y="12940"/>
                </a:lnTo>
                <a:lnTo>
                  <a:pt x="1613" y="12635"/>
                </a:lnTo>
                <a:lnTo>
                  <a:pt x="1388" y="12313"/>
                </a:lnTo>
                <a:lnTo>
                  <a:pt x="1177" y="11988"/>
                </a:lnTo>
                <a:lnTo>
                  <a:pt x="978" y="11645"/>
                </a:lnTo>
                <a:lnTo>
                  <a:pt x="800" y="11293"/>
                </a:lnTo>
                <a:lnTo>
                  <a:pt x="715" y="11116"/>
                </a:lnTo>
                <a:lnTo>
                  <a:pt x="639" y="10934"/>
                </a:lnTo>
                <a:lnTo>
                  <a:pt x="563" y="10751"/>
                </a:lnTo>
                <a:lnTo>
                  <a:pt x="491" y="10565"/>
                </a:lnTo>
                <a:lnTo>
                  <a:pt x="427" y="10379"/>
                </a:lnTo>
                <a:lnTo>
                  <a:pt x="364" y="10189"/>
                </a:lnTo>
                <a:lnTo>
                  <a:pt x="305" y="9998"/>
                </a:lnTo>
                <a:lnTo>
                  <a:pt x="254" y="9803"/>
                </a:lnTo>
                <a:lnTo>
                  <a:pt x="207" y="9609"/>
                </a:lnTo>
                <a:lnTo>
                  <a:pt x="165" y="9410"/>
                </a:lnTo>
                <a:lnTo>
                  <a:pt x="127" y="9211"/>
                </a:lnTo>
                <a:lnTo>
                  <a:pt x="93" y="9012"/>
                </a:lnTo>
                <a:lnTo>
                  <a:pt x="63" y="8809"/>
                </a:lnTo>
                <a:lnTo>
                  <a:pt x="42" y="8601"/>
                </a:lnTo>
                <a:lnTo>
                  <a:pt x="21" y="8398"/>
                </a:lnTo>
                <a:lnTo>
                  <a:pt x="8" y="8191"/>
                </a:lnTo>
                <a:lnTo>
                  <a:pt x="0" y="7983"/>
                </a:lnTo>
                <a:lnTo>
                  <a:pt x="0" y="7771"/>
                </a:lnTo>
              </a:path>
            </a:pathLst>
          </a:custGeom>
          <a:noFill/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6" name="Ryhmä 15"/>
          <p:cNvGrpSpPr/>
          <p:nvPr userDrawn="1"/>
        </p:nvGrpSpPr>
        <p:grpSpPr bwMode="black">
          <a:xfrm>
            <a:off x="8034273" y="4831556"/>
            <a:ext cx="869375" cy="145200"/>
            <a:chOff x="1170790" y="2446391"/>
            <a:chExt cx="6636576" cy="1108419"/>
          </a:xfrm>
          <a:solidFill>
            <a:srgbClr val="FFFFFF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black">
            <a:xfrm>
              <a:off x="6555303" y="2446391"/>
              <a:ext cx="1252063" cy="1099843"/>
            </a:xfrm>
            <a:custGeom>
              <a:avLst/>
              <a:gdLst>
                <a:gd name="T0" fmla="*/ 1029 w 5148"/>
                <a:gd name="T1" fmla="*/ 2797 h 4505"/>
                <a:gd name="T2" fmla="*/ 1029 w 5148"/>
                <a:gd name="T3" fmla="*/ 2797 h 4505"/>
                <a:gd name="T4" fmla="*/ 1131 w 5148"/>
                <a:gd name="T5" fmla="*/ 2699 h 4505"/>
                <a:gd name="T6" fmla="*/ 3810 w 5148"/>
                <a:gd name="T7" fmla="*/ 2699 h 4505"/>
                <a:gd name="T8" fmla="*/ 4255 w 5148"/>
                <a:gd name="T9" fmla="*/ 2251 h 4505"/>
                <a:gd name="T10" fmla="*/ 3810 w 5148"/>
                <a:gd name="T11" fmla="*/ 1806 h 4505"/>
                <a:gd name="T12" fmla="*/ 1131 w 5148"/>
                <a:gd name="T13" fmla="*/ 1806 h 4505"/>
                <a:gd name="T14" fmla="*/ 1029 w 5148"/>
                <a:gd name="T15" fmla="*/ 1709 h 4505"/>
                <a:gd name="T16" fmla="*/ 1029 w 5148"/>
                <a:gd name="T17" fmla="*/ 1443 h 4505"/>
                <a:gd name="T18" fmla="*/ 1513 w 5148"/>
                <a:gd name="T19" fmla="*/ 960 h 4505"/>
                <a:gd name="T20" fmla="*/ 4664 w 5148"/>
                <a:gd name="T21" fmla="*/ 960 h 4505"/>
                <a:gd name="T22" fmla="*/ 5148 w 5148"/>
                <a:gd name="T23" fmla="*/ 480 h 4505"/>
                <a:gd name="T24" fmla="*/ 4664 w 5148"/>
                <a:gd name="T25" fmla="*/ 0 h 4505"/>
                <a:gd name="T26" fmla="*/ 1322 w 5148"/>
                <a:gd name="T27" fmla="*/ 0 h 4505"/>
                <a:gd name="T28" fmla="*/ 0 w 5148"/>
                <a:gd name="T29" fmla="*/ 1322 h 4505"/>
                <a:gd name="T30" fmla="*/ 0 w 5148"/>
                <a:gd name="T31" fmla="*/ 3187 h 4505"/>
                <a:gd name="T32" fmla="*/ 1322 w 5148"/>
                <a:gd name="T33" fmla="*/ 4505 h 4505"/>
                <a:gd name="T34" fmla="*/ 4664 w 5148"/>
                <a:gd name="T35" fmla="*/ 4505 h 4505"/>
                <a:gd name="T36" fmla="*/ 5148 w 5148"/>
                <a:gd name="T37" fmla="*/ 4025 h 4505"/>
                <a:gd name="T38" fmla="*/ 4664 w 5148"/>
                <a:gd name="T39" fmla="*/ 3546 h 4505"/>
                <a:gd name="T40" fmla="*/ 1513 w 5148"/>
                <a:gd name="T41" fmla="*/ 3546 h 4505"/>
                <a:gd name="T42" fmla="*/ 1029 w 5148"/>
                <a:gd name="T43" fmla="*/ 3062 h 4505"/>
                <a:gd name="T44" fmla="*/ 1029 w 5148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8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31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6" y="1806"/>
                    <a:pt x="3810" y="1806"/>
                  </a:cubicBezTo>
                  <a:lnTo>
                    <a:pt x="1131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4"/>
                    <a:pt x="1244" y="960"/>
                    <a:pt x="1513" y="960"/>
                  </a:cubicBezTo>
                  <a:lnTo>
                    <a:pt x="4664" y="960"/>
                  </a:lnTo>
                  <a:cubicBezTo>
                    <a:pt x="4929" y="960"/>
                    <a:pt x="5148" y="745"/>
                    <a:pt x="5148" y="480"/>
                  </a:cubicBezTo>
                  <a:cubicBezTo>
                    <a:pt x="5148" y="215"/>
                    <a:pt x="4929" y="0"/>
                    <a:pt x="4664" y="0"/>
                  </a:cubicBezTo>
                  <a:lnTo>
                    <a:pt x="1322" y="0"/>
                  </a:lnTo>
                  <a:cubicBezTo>
                    <a:pt x="593" y="4"/>
                    <a:pt x="0" y="593"/>
                    <a:pt x="0" y="1322"/>
                  </a:cubicBezTo>
                  <a:lnTo>
                    <a:pt x="0" y="3187"/>
                  </a:lnTo>
                  <a:cubicBezTo>
                    <a:pt x="0" y="3912"/>
                    <a:pt x="593" y="4501"/>
                    <a:pt x="1322" y="4505"/>
                  </a:cubicBezTo>
                  <a:lnTo>
                    <a:pt x="4664" y="4505"/>
                  </a:lnTo>
                  <a:cubicBezTo>
                    <a:pt x="4929" y="4505"/>
                    <a:pt x="5148" y="4291"/>
                    <a:pt x="5148" y="4025"/>
                  </a:cubicBezTo>
                  <a:cubicBezTo>
                    <a:pt x="5148" y="3760"/>
                    <a:pt x="4929" y="3546"/>
                    <a:pt x="4664" y="3546"/>
                  </a:cubicBezTo>
                  <a:lnTo>
                    <a:pt x="1513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black">
            <a:xfrm>
              <a:off x="3875374" y="2446391"/>
              <a:ext cx="1275646" cy="1099843"/>
            </a:xfrm>
            <a:custGeom>
              <a:avLst/>
              <a:gdLst>
                <a:gd name="T0" fmla="*/ 4158 w 5245"/>
                <a:gd name="T1" fmla="*/ 3304 h 4505"/>
                <a:gd name="T2" fmla="*/ 4158 w 5245"/>
                <a:gd name="T3" fmla="*/ 3304 h 4505"/>
                <a:gd name="T4" fmla="*/ 4240 w 5245"/>
                <a:gd name="T5" fmla="*/ 3421 h 4505"/>
                <a:gd name="T6" fmla="*/ 4115 w 5245"/>
                <a:gd name="T7" fmla="*/ 3546 h 4505"/>
                <a:gd name="T8" fmla="*/ 671 w 5245"/>
                <a:gd name="T9" fmla="*/ 3546 h 4505"/>
                <a:gd name="T10" fmla="*/ 187 w 5245"/>
                <a:gd name="T11" fmla="*/ 4025 h 4505"/>
                <a:gd name="T12" fmla="*/ 671 w 5245"/>
                <a:gd name="T13" fmla="*/ 4505 h 4505"/>
                <a:gd name="T14" fmla="*/ 4169 w 5245"/>
                <a:gd name="T15" fmla="*/ 4505 h 4505"/>
                <a:gd name="T16" fmla="*/ 5245 w 5245"/>
                <a:gd name="T17" fmla="*/ 3428 h 4505"/>
                <a:gd name="T18" fmla="*/ 4540 w 5245"/>
                <a:gd name="T19" fmla="*/ 2418 h 4505"/>
                <a:gd name="T20" fmla="*/ 1092 w 5245"/>
                <a:gd name="T21" fmla="*/ 1201 h 4505"/>
                <a:gd name="T22" fmla="*/ 1010 w 5245"/>
                <a:gd name="T23" fmla="*/ 1084 h 4505"/>
                <a:gd name="T24" fmla="*/ 1131 w 5245"/>
                <a:gd name="T25" fmla="*/ 960 h 4505"/>
                <a:gd name="T26" fmla="*/ 4575 w 5245"/>
                <a:gd name="T27" fmla="*/ 960 h 4505"/>
                <a:gd name="T28" fmla="*/ 5054 w 5245"/>
                <a:gd name="T29" fmla="*/ 480 h 4505"/>
                <a:gd name="T30" fmla="*/ 4575 w 5245"/>
                <a:gd name="T31" fmla="*/ 0 h 4505"/>
                <a:gd name="T32" fmla="*/ 1072 w 5245"/>
                <a:gd name="T33" fmla="*/ 0 h 4505"/>
                <a:gd name="T34" fmla="*/ 0 w 5245"/>
                <a:gd name="T35" fmla="*/ 1077 h 4505"/>
                <a:gd name="T36" fmla="*/ 667 w 5245"/>
                <a:gd name="T37" fmla="*/ 2071 h 4505"/>
                <a:gd name="T38" fmla="*/ 4158 w 5245"/>
                <a:gd name="T39" fmla="*/ 3304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45" h="4505">
                  <a:moveTo>
                    <a:pt x="4158" y="3304"/>
                  </a:moveTo>
                  <a:lnTo>
                    <a:pt x="4158" y="3304"/>
                  </a:lnTo>
                  <a:cubicBezTo>
                    <a:pt x="4201" y="3323"/>
                    <a:pt x="4240" y="3366"/>
                    <a:pt x="4240" y="3421"/>
                  </a:cubicBezTo>
                  <a:cubicBezTo>
                    <a:pt x="4240" y="3487"/>
                    <a:pt x="4181" y="3546"/>
                    <a:pt x="4115" y="3546"/>
                  </a:cubicBezTo>
                  <a:lnTo>
                    <a:pt x="671" y="3546"/>
                  </a:lnTo>
                  <a:cubicBezTo>
                    <a:pt x="402" y="3546"/>
                    <a:pt x="187" y="3760"/>
                    <a:pt x="187" y="4025"/>
                  </a:cubicBezTo>
                  <a:cubicBezTo>
                    <a:pt x="187" y="4291"/>
                    <a:pt x="406" y="4505"/>
                    <a:pt x="671" y="4505"/>
                  </a:cubicBezTo>
                  <a:lnTo>
                    <a:pt x="4169" y="4505"/>
                  </a:lnTo>
                  <a:cubicBezTo>
                    <a:pt x="4758" y="4505"/>
                    <a:pt x="5245" y="4021"/>
                    <a:pt x="5245" y="3428"/>
                  </a:cubicBezTo>
                  <a:cubicBezTo>
                    <a:pt x="5245" y="2964"/>
                    <a:pt x="4949" y="2570"/>
                    <a:pt x="4540" y="2418"/>
                  </a:cubicBezTo>
                  <a:lnTo>
                    <a:pt x="1092" y="1201"/>
                  </a:lnTo>
                  <a:cubicBezTo>
                    <a:pt x="1045" y="1186"/>
                    <a:pt x="1010" y="1139"/>
                    <a:pt x="1010" y="1084"/>
                  </a:cubicBezTo>
                  <a:cubicBezTo>
                    <a:pt x="1010" y="1018"/>
                    <a:pt x="1061" y="960"/>
                    <a:pt x="1131" y="960"/>
                  </a:cubicBezTo>
                  <a:lnTo>
                    <a:pt x="4575" y="960"/>
                  </a:lnTo>
                  <a:cubicBezTo>
                    <a:pt x="4840" y="960"/>
                    <a:pt x="5054" y="745"/>
                    <a:pt x="5054" y="480"/>
                  </a:cubicBezTo>
                  <a:cubicBezTo>
                    <a:pt x="5054" y="215"/>
                    <a:pt x="4836" y="0"/>
                    <a:pt x="4575" y="0"/>
                  </a:cubicBezTo>
                  <a:lnTo>
                    <a:pt x="1072" y="0"/>
                  </a:lnTo>
                  <a:cubicBezTo>
                    <a:pt x="476" y="0"/>
                    <a:pt x="0" y="484"/>
                    <a:pt x="0" y="1077"/>
                  </a:cubicBezTo>
                  <a:cubicBezTo>
                    <a:pt x="0" y="1525"/>
                    <a:pt x="277" y="1911"/>
                    <a:pt x="667" y="2071"/>
                  </a:cubicBezTo>
                  <a:lnTo>
                    <a:pt x="4158" y="3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black">
            <a:xfrm>
              <a:off x="5196043" y="2446391"/>
              <a:ext cx="1321741" cy="1108419"/>
            </a:xfrm>
            <a:custGeom>
              <a:avLst/>
              <a:gdLst>
                <a:gd name="T0" fmla="*/ 2196 w 5433"/>
                <a:gd name="T1" fmla="*/ 4025 h 4540"/>
                <a:gd name="T2" fmla="*/ 2196 w 5433"/>
                <a:gd name="T3" fmla="*/ 4025 h 4540"/>
                <a:gd name="T4" fmla="*/ 2710 w 5433"/>
                <a:gd name="T5" fmla="*/ 4540 h 4540"/>
                <a:gd name="T6" fmla="*/ 3225 w 5433"/>
                <a:gd name="T7" fmla="*/ 4025 h 4540"/>
                <a:gd name="T8" fmla="*/ 3225 w 5433"/>
                <a:gd name="T9" fmla="*/ 1061 h 4540"/>
                <a:gd name="T10" fmla="*/ 3327 w 5433"/>
                <a:gd name="T11" fmla="*/ 960 h 4540"/>
                <a:gd name="T12" fmla="*/ 4953 w 5433"/>
                <a:gd name="T13" fmla="*/ 960 h 4540"/>
                <a:gd name="T14" fmla="*/ 5433 w 5433"/>
                <a:gd name="T15" fmla="*/ 480 h 4540"/>
                <a:gd name="T16" fmla="*/ 4953 w 5433"/>
                <a:gd name="T17" fmla="*/ 0 h 4540"/>
                <a:gd name="T18" fmla="*/ 479 w 5433"/>
                <a:gd name="T19" fmla="*/ 0 h 4540"/>
                <a:gd name="T20" fmla="*/ 0 w 5433"/>
                <a:gd name="T21" fmla="*/ 480 h 4540"/>
                <a:gd name="T22" fmla="*/ 479 w 5433"/>
                <a:gd name="T23" fmla="*/ 960 h 4540"/>
                <a:gd name="T24" fmla="*/ 2098 w 5433"/>
                <a:gd name="T25" fmla="*/ 960 h 4540"/>
                <a:gd name="T26" fmla="*/ 2196 w 5433"/>
                <a:gd name="T27" fmla="*/ 1061 h 4540"/>
                <a:gd name="T28" fmla="*/ 2196 w 5433"/>
                <a:gd name="T29" fmla="*/ 4025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33" h="4540">
                  <a:moveTo>
                    <a:pt x="2196" y="4025"/>
                  </a:moveTo>
                  <a:lnTo>
                    <a:pt x="2196" y="4025"/>
                  </a:lnTo>
                  <a:cubicBezTo>
                    <a:pt x="2192" y="4310"/>
                    <a:pt x="2426" y="4540"/>
                    <a:pt x="2710" y="4540"/>
                  </a:cubicBezTo>
                  <a:cubicBezTo>
                    <a:pt x="2995" y="4540"/>
                    <a:pt x="3225" y="4310"/>
                    <a:pt x="3225" y="4025"/>
                  </a:cubicBezTo>
                  <a:lnTo>
                    <a:pt x="3225" y="1061"/>
                  </a:lnTo>
                  <a:cubicBezTo>
                    <a:pt x="3225" y="1003"/>
                    <a:pt x="3272" y="960"/>
                    <a:pt x="3327" y="960"/>
                  </a:cubicBezTo>
                  <a:lnTo>
                    <a:pt x="4953" y="960"/>
                  </a:lnTo>
                  <a:cubicBezTo>
                    <a:pt x="5218" y="960"/>
                    <a:pt x="5433" y="745"/>
                    <a:pt x="5433" y="480"/>
                  </a:cubicBezTo>
                  <a:cubicBezTo>
                    <a:pt x="5433" y="215"/>
                    <a:pt x="5214" y="0"/>
                    <a:pt x="4953" y="0"/>
                  </a:cubicBezTo>
                  <a:lnTo>
                    <a:pt x="479" y="0"/>
                  </a:lnTo>
                  <a:cubicBezTo>
                    <a:pt x="214" y="0"/>
                    <a:pt x="0" y="215"/>
                    <a:pt x="0" y="480"/>
                  </a:cubicBezTo>
                  <a:cubicBezTo>
                    <a:pt x="0" y="745"/>
                    <a:pt x="214" y="960"/>
                    <a:pt x="479" y="960"/>
                  </a:cubicBezTo>
                  <a:lnTo>
                    <a:pt x="2098" y="960"/>
                  </a:lnTo>
                  <a:cubicBezTo>
                    <a:pt x="2153" y="960"/>
                    <a:pt x="2196" y="1003"/>
                    <a:pt x="2196" y="1061"/>
                  </a:cubicBezTo>
                  <a:lnTo>
                    <a:pt x="2196" y="40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black">
            <a:xfrm>
              <a:off x="2550417" y="2446391"/>
              <a:ext cx="1250991" cy="1099843"/>
            </a:xfrm>
            <a:custGeom>
              <a:avLst/>
              <a:gdLst>
                <a:gd name="T0" fmla="*/ 1029 w 5144"/>
                <a:gd name="T1" fmla="*/ 2797 h 4505"/>
                <a:gd name="T2" fmla="*/ 1029 w 5144"/>
                <a:gd name="T3" fmla="*/ 2797 h 4505"/>
                <a:gd name="T4" fmla="*/ 1127 w 5144"/>
                <a:gd name="T5" fmla="*/ 2699 h 4505"/>
                <a:gd name="T6" fmla="*/ 3810 w 5144"/>
                <a:gd name="T7" fmla="*/ 2699 h 4505"/>
                <a:gd name="T8" fmla="*/ 4255 w 5144"/>
                <a:gd name="T9" fmla="*/ 2251 h 4505"/>
                <a:gd name="T10" fmla="*/ 3810 w 5144"/>
                <a:gd name="T11" fmla="*/ 1806 h 4505"/>
                <a:gd name="T12" fmla="*/ 1127 w 5144"/>
                <a:gd name="T13" fmla="*/ 1806 h 4505"/>
                <a:gd name="T14" fmla="*/ 1029 w 5144"/>
                <a:gd name="T15" fmla="*/ 1709 h 4505"/>
                <a:gd name="T16" fmla="*/ 1029 w 5144"/>
                <a:gd name="T17" fmla="*/ 1443 h 4505"/>
                <a:gd name="T18" fmla="*/ 1509 w 5144"/>
                <a:gd name="T19" fmla="*/ 960 h 4505"/>
                <a:gd name="T20" fmla="*/ 4664 w 5144"/>
                <a:gd name="T21" fmla="*/ 960 h 4505"/>
                <a:gd name="T22" fmla="*/ 5144 w 5144"/>
                <a:gd name="T23" fmla="*/ 480 h 4505"/>
                <a:gd name="T24" fmla="*/ 4664 w 5144"/>
                <a:gd name="T25" fmla="*/ 0 h 4505"/>
                <a:gd name="T26" fmla="*/ 1318 w 5144"/>
                <a:gd name="T27" fmla="*/ 0 h 4505"/>
                <a:gd name="T28" fmla="*/ 0 w 5144"/>
                <a:gd name="T29" fmla="*/ 1318 h 4505"/>
                <a:gd name="T30" fmla="*/ 0 w 5144"/>
                <a:gd name="T31" fmla="*/ 3187 h 4505"/>
                <a:gd name="T32" fmla="*/ 1318 w 5144"/>
                <a:gd name="T33" fmla="*/ 4505 h 4505"/>
                <a:gd name="T34" fmla="*/ 4664 w 5144"/>
                <a:gd name="T35" fmla="*/ 4505 h 4505"/>
                <a:gd name="T36" fmla="*/ 5144 w 5144"/>
                <a:gd name="T37" fmla="*/ 4025 h 4505"/>
                <a:gd name="T38" fmla="*/ 4664 w 5144"/>
                <a:gd name="T39" fmla="*/ 3546 h 4505"/>
                <a:gd name="T40" fmla="*/ 1509 w 5144"/>
                <a:gd name="T41" fmla="*/ 3546 h 4505"/>
                <a:gd name="T42" fmla="*/ 1029 w 5144"/>
                <a:gd name="T43" fmla="*/ 3062 h 4505"/>
                <a:gd name="T44" fmla="*/ 1029 w 5144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4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27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2" y="1806"/>
                    <a:pt x="3810" y="1806"/>
                  </a:cubicBezTo>
                  <a:lnTo>
                    <a:pt x="1127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8"/>
                    <a:pt x="1244" y="960"/>
                    <a:pt x="1509" y="960"/>
                  </a:cubicBezTo>
                  <a:lnTo>
                    <a:pt x="4664" y="960"/>
                  </a:lnTo>
                  <a:cubicBezTo>
                    <a:pt x="4929" y="960"/>
                    <a:pt x="5144" y="745"/>
                    <a:pt x="5144" y="480"/>
                  </a:cubicBezTo>
                  <a:cubicBezTo>
                    <a:pt x="5144" y="215"/>
                    <a:pt x="4929" y="0"/>
                    <a:pt x="4664" y="0"/>
                  </a:cubicBezTo>
                  <a:lnTo>
                    <a:pt x="1318" y="0"/>
                  </a:lnTo>
                  <a:cubicBezTo>
                    <a:pt x="588" y="4"/>
                    <a:pt x="0" y="593"/>
                    <a:pt x="0" y="1318"/>
                  </a:cubicBezTo>
                  <a:lnTo>
                    <a:pt x="0" y="3187"/>
                  </a:lnTo>
                  <a:cubicBezTo>
                    <a:pt x="0" y="3916"/>
                    <a:pt x="588" y="4501"/>
                    <a:pt x="1318" y="4505"/>
                  </a:cubicBezTo>
                  <a:lnTo>
                    <a:pt x="4664" y="4505"/>
                  </a:lnTo>
                  <a:cubicBezTo>
                    <a:pt x="4929" y="4505"/>
                    <a:pt x="5144" y="4291"/>
                    <a:pt x="5144" y="4025"/>
                  </a:cubicBezTo>
                  <a:cubicBezTo>
                    <a:pt x="5144" y="3760"/>
                    <a:pt x="4929" y="3546"/>
                    <a:pt x="4664" y="3546"/>
                  </a:cubicBezTo>
                  <a:lnTo>
                    <a:pt x="1509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black">
            <a:xfrm>
              <a:off x="1170790" y="2446391"/>
              <a:ext cx="1253135" cy="1108419"/>
            </a:xfrm>
            <a:custGeom>
              <a:avLst/>
              <a:gdLst>
                <a:gd name="T0" fmla="*/ 98 w 5152"/>
                <a:gd name="T1" fmla="*/ 0 h 4540"/>
                <a:gd name="T2" fmla="*/ 3834 w 5152"/>
                <a:gd name="T3" fmla="*/ 0 h 4540"/>
                <a:gd name="T4" fmla="*/ 5152 w 5152"/>
                <a:gd name="T5" fmla="*/ 1318 h 4540"/>
                <a:gd name="T6" fmla="*/ 5152 w 5152"/>
                <a:gd name="T7" fmla="*/ 4025 h 4540"/>
                <a:gd name="T8" fmla="*/ 4637 w 5152"/>
                <a:gd name="T9" fmla="*/ 4540 h 4540"/>
                <a:gd name="T10" fmla="*/ 4122 w 5152"/>
                <a:gd name="T11" fmla="*/ 4025 h 4540"/>
                <a:gd name="T12" fmla="*/ 4122 w 5152"/>
                <a:gd name="T13" fmla="*/ 1443 h 4540"/>
                <a:gd name="T14" fmla="*/ 3643 w 5152"/>
                <a:gd name="T15" fmla="*/ 960 h 4540"/>
                <a:gd name="T16" fmla="*/ 1131 w 5152"/>
                <a:gd name="T17" fmla="*/ 960 h 4540"/>
                <a:gd name="T18" fmla="*/ 1034 w 5152"/>
                <a:gd name="T19" fmla="*/ 1061 h 4540"/>
                <a:gd name="T20" fmla="*/ 1034 w 5152"/>
                <a:gd name="T21" fmla="*/ 4025 h 4540"/>
                <a:gd name="T22" fmla="*/ 515 w 5152"/>
                <a:gd name="T23" fmla="*/ 4540 h 4540"/>
                <a:gd name="T24" fmla="*/ 0 w 5152"/>
                <a:gd name="T25" fmla="*/ 4025 h 4540"/>
                <a:gd name="T26" fmla="*/ 0 w 5152"/>
                <a:gd name="T27" fmla="*/ 98 h 4540"/>
                <a:gd name="T28" fmla="*/ 98 w 5152"/>
                <a:gd name="T29" fmla="*/ 0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2" h="4540">
                  <a:moveTo>
                    <a:pt x="98" y="0"/>
                  </a:moveTo>
                  <a:lnTo>
                    <a:pt x="3834" y="0"/>
                  </a:lnTo>
                  <a:cubicBezTo>
                    <a:pt x="4563" y="0"/>
                    <a:pt x="5152" y="593"/>
                    <a:pt x="5152" y="1318"/>
                  </a:cubicBezTo>
                  <a:lnTo>
                    <a:pt x="5152" y="4025"/>
                  </a:lnTo>
                  <a:cubicBezTo>
                    <a:pt x="5152" y="4310"/>
                    <a:pt x="4922" y="4540"/>
                    <a:pt x="4637" y="4540"/>
                  </a:cubicBezTo>
                  <a:cubicBezTo>
                    <a:pt x="4353" y="4540"/>
                    <a:pt x="4119" y="4310"/>
                    <a:pt x="4122" y="4025"/>
                  </a:cubicBezTo>
                  <a:lnTo>
                    <a:pt x="4122" y="1443"/>
                  </a:lnTo>
                  <a:cubicBezTo>
                    <a:pt x="4119" y="1178"/>
                    <a:pt x="3908" y="960"/>
                    <a:pt x="3643" y="960"/>
                  </a:cubicBezTo>
                  <a:lnTo>
                    <a:pt x="1131" y="960"/>
                  </a:lnTo>
                  <a:cubicBezTo>
                    <a:pt x="1077" y="960"/>
                    <a:pt x="1030" y="1006"/>
                    <a:pt x="1034" y="1061"/>
                  </a:cubicBezTo>
                  <a:lnTo>
                    <a:pt x="1034" y="4025"/>
                  </a:lnTo>
                  <a:cubicBezTo>
                    <a:pt x="1034" y="4310"/>
                    <a:pt x="800" y="4540"/>
                    <a:pt x="515" y="4540"/>
                  </a:cubicBezTo>
                  <a:cubicBezTo>
                    <a:pt x="230" y="4540"/>
                    <a:pt x="0" y="4310"/>
                    <a:pt x="0" y="4025"/>
                  </a:cubicBezTo>
                  <a:lnTo>
                    <a:pt x="0" y="98"/>
                  </a:lnTo>
                  <a:cubicBezTo>
                    <a:pt x="0" y="43"/>
                    <a:pt x="47" y="0"/>
                    <a:pt x="9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9746726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5"/>
          <p:cNvSpPr>
            <a:spLocks/>
          </p:cNvSpPr>
          <p:nvPr userDrawn="1"/>
        </p:nvSpPr>
        <p:spPr bwMode="auto">
          <a:xfrm>
            <a:off x="0" y="0"/>
            <a:ext cx="8255000" cy="5032375"/>
          </a:xfrm>
          <a:custGeom>
            <a:avLst/>
            <a:gdLst>
              <a:gd name="T0" fmla="*/ 22906 w 22906"/>
              <a:gd name="T1" fmla="*/ 1994 h 13962"/>
              <a:gd name="T2" fmla="*/ 22889 w 22906"/>
              <a:gd name="T3" fmla="*/ 2608 h 13962"/>
              <a:gd name="T4" fmla="*/ 22843 w 22906"/>
              <a:gd name="T5" fmla="*/ 3217 h 13962"/>
              <a:gd name="T6" fmla="*/ 22767 w 22906"/>
              <a:gd name="T7" fmla="*/ 3814 h 13962"/>
              <a:gd name="T8" fmla="*/ 22661 w 22906"/>
              <a:gd name="T9" fmla="*/ 4403 h 13962"/>
              <a:gd name="T10" fmla="*/ 22529 w 22906"/>
              <a:gd name="T11" fmla="*/ 4983 h 13962"/>
              <a:gd name="T12" fmla="*/ 22369 w 22906"/>
              <a:gd name="T13" fmla="*/ 5550 h 13962"/>
              <a:gd name="T14" fmla="*/ 22178 w 22906"/>
              <a:gd name="T15" fmla="*/ 6109 h 13962"/>
              <a:gd name="T16" fmla="*/ 21966 w 22906"/>
              <a:gd name="T17" fmla="*/ 6651 h 13962"/>
              <a:gd name="T18" fmla="*/ 21725 w 22906"/>
              <a:gd name="T19" fmla="*/ 7180 h 13962"/>
              <a:gd name="T20" fmla="*/ 21458 w 22906"/>
              <a:gd name="T21" fmla="*/ 7696 h 13962"/>
              <a:gd name="T22" fmla="*/ 21171 w 22906"/>
              <a:gd name="T23" fmla="*/ 8200 h 13962"/>
              <a:gd name="T24" fmla="*/ 20862 w 22906"/>
              <a:gd name="T25" fmla="*/ 8683 h 13962"/>
              <a:gd name="T26" fmla="*/ 20527 w 22906"/>
              <a:gd name="T27" fmla="*/ 9153 h 13962"/>
              <a:gd name="T28" fmla="*/ 20171 w 22906"/>
              <a:gd name="T29" fmla="*/ 9606 h 13962"/>
              <a:gd name="T30" fmla="*/ 19795 w 22906"/>
              <a:gd name="T31" fmla="*/ 10042 h 13962"/>
              <a:gd name="T32" fmla="*/ 19401 w 22906"/>
              <a:gd name="T33" fmla="*/ 10456 h 13962"/>
              <a:gd name="T34" fmla="*/ 18986 w 22906"/>
              <a:gd name="T35" fmla="*/ 10850 h 13962"/>
              <a:gd name="T36" fmla="*/ 18550 w 22906"/>
              <a:gd name="T37" fmla="*/ 11227 h 13962"/>
              <a:gd name="T38" fmla="*/ 18097 w 22906"/>
              <a:gd name="T39" fmla="*/ 11583 h 13962"/>
              <a:gd name="T40" fmla="*/ 17627 w 22906"/>
              <a:gd name="T41" fmla="*/ 11917 h 13962"/>
              <a:gd name="T42" fmla="*/ 17145 w 22906"/>
              <a:gd name="T43" fmla="*/ 12226 h 13962"/>
              <a:gd name="T44" fmla="*/ 16641 w 22906"/>
              <a:gd name="T45" fmla="*/ 12514 h 13962"/>
              <a:gd name="T46" fmla="*/ 16124 w 22906"/>
              <a:gd name="T47" fmla="*/ 12781 h 13962"/>
              <a:gd name="T48" fmla="*/ 15595 w 22906"/>
              <a:gd name="T49" fmla="*/ 13022 h 13962"/>
              <a:gd name="T50" fmla="*/ 15053 w 22906"/>
              <a:gd name="T51" fmla="*/ 13234 h 13962"/>
              <a:gd name="T52" fmla="*/ 14495 w 22906"/>
              <a:gd name="T53" fmla="*/ 13424 h 13962"/>
              <a:gd name="T54" fmla="*/ 13927 w 22906"/>
              <a:gd name="T55" fmla="*/ 13585 h 13962"/>
              <a:gd name="T56" fmla="*/ 13347 w 22906"/>
              <a:gd name="T57" fmla="*/ 13716 h 13962"/>
              <a:gd name="T58" fmla="*/ 12759 w 22906"/>
              <a:gd name="T59" fmla="*/ 13822 h 13962"/>
              <a:gd name="T60" fmla="*/ 12162 w 22906"/>
              <a:gd name="T61" fmla="*/ 13898 h 13962"/>
              <a:gd name="T62" fmla="*/ 11552 w 22906"/>
              <a:gd name="T63" fmla="*/ 13945 h 13962"/>
              <a:gd name="T64" fmla="*/ 10939 w 22906"/>
              <a:gd name="T65" fmla="*/ 13962 h 13962"/>
              <a:gd name="T66" fmla="*/ 10320 w 22906"/>
              <a:gd name="T67" fmla="*/ 13945 h 13962"/>
              <a:gd name="T68" fmla="*/ 9715 w 22906"/>
              <a:gd name="T69" fmla="*/ 13898 h 13962"/>
              <a:gd name="T70" fmla="*/ 9114 w 22906"/>
              <a:gd name="T71" fmla="*/ 13822 h 13962"/>
              <a:gd name="T72" fmla="*/ 8526 w 22906"/>
              <a:gd name="T73" fmla="*/ 13716 h 13962"/>
              <a:gd name="T74" fmla="*/ 7946 w 22906"/>
              <a:gd name="T75" fmla="*/ 13585 h 13962"/>
              <a:gd name="T76" fmla="*/ 7378 w 22906"/>
              <a:gd name="T77" fmla="*/ 13424 h 13962"/>
              <a:gd name="T78" fmla="*/ 6824 w 22906"/>
              <a:gd name="T79" fmla="*/ 13234 h 13962"/>
              <a:gd name="T80" fmla="*/ 6278 w 22906"/>
              <a:gd name="T81" fmla="*/ 13022 h 13962"/>
              <a:gd name="T82" fmla="*/ 5748 w 22906"/>
              <a:gd name="T83" fmla="*/ 12781 h 13962"/>
              <a:gd name="T84" fmla="*/ 5232 w 22906"/>
              <a:gd name="T85" fmla="*/ 12514 h 13962"/>
              <a:gd name="T86" fmla="*/ 4732 w 22906"/>
              <a:gd name="T87" fmla="*/ 12226 h 13962"/>
              <a:gd name="T88" fmla="*/ 4246 w 22906"/>
              <a:gd name="T89" fmla="*/ 11917 h 13962"/>
              <a:gd name="T90" fmla="*/ 3776 w 22906"/>
              <a:gd name="T91" fmla="*/ 11583 h 13962"/>
              <a:gd name="T92" fmla="*/ 3323 w 22906"/>
              <a:gd name="T93" fmla="*/ 11227 h 13962"/>
              <a:gd name="T94" fmla="*/ 2891 w 22906"/>
              <a:gd name="T95" fmla="*/ 10850 h 13962"/>
              <a:gd name="T96" fmla="*/ 2476 w 22906"/>
              <a:gd name="T97" fmla="*/ 10456 h 13962"/>
              <a:gd name="T98" fmla="*/ 2078 w 22906"/>
              <a:gd name="T99" fmla="*/ 10042 h 13962"/>
              <a:gd name="T100" fmla="*/ 1701 w 22906"/>
              <a:gd name="T101" fmla="*/ 9606 h 13962"/>
              <a:gd name="T102" fmla="*/ 1346 w 22906"/>
              <a:gd name="T103" fmla="*/ 9153 h 13962"/>
              <a:gd name="T104" fmla="*/ 1011 w 22906"/>
              <a:gd name="T105" fmla="*/ 8683 h 13962"/>
              <a:gd name="T106" fmla="*/ 702 w 22906"/>
              <a:gd name="T107" fmla="*/ 8200 h 13962"/>
              <a:gd name="T108" fmla="*/ 414 w 22906"/>
              <a:gd name="T109" fmla="*/ 7696 h 13962"/>
              <a:gd name="T110" fmla="*/ 148 w 22906"/>
              <a:gd name="T111" fmla="*/ 7180 h 13962"/>
              <a:gd name="T112" fmla="*/ 0 w 22906"/>
              <a:gd name="T113" fmla="*/ 6858 h 139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906" h="13962">
                <a:moveTo>
                  <a:pt x="22906" y="0"/>
                </a:moveTo>
                <a:lnTo>
                  <a:pt x="22906" y="1994"/>
                </a:lnTo>
                <a:lnTo>
                  <a:pt x="22902" y="2303"/>
                </a:lnTo>
                <a:lnTo>
                  <a:pt x="22889" y="2608"/>
                </a:lnTo>
                <a:lnTo>
                  <a:pt x="22868" y="2913"/>
                </a:lnTo>
                <a:lnTo>
                  <a:pt x="22843" y="3217"/>
                </a:lnTo>
                <a:lnTo>
                  <a:pt x="22809" y="3518"/>
                </a:lnTo>
                <a:lnTo>
                  <a:pt x="22767" y="3814"/>
                </a:lnTo>
                <a:lnTo>
                  <a:pt x="22720" y="4111"/>
                </a:lnTo>
                <a:lnTo>
                  <a:pt x="22661" y="4403"/>
                </a:lnTo>
                <a:lnTo>
                  <a:pt x="22597" y="4695"/>
                </a:lnTo>
                <a:lnTo>
                  <a:pt x="22529" y="4983"/>
                </a:lnTo>
                <a:lnTo>
                  <a:pt x="22449" y="5271"/>
                </a:lnTo>
                <a:lnTo>
                  <a:pt x="22369" y="5550"/>
                </a:lnTo>
                <a:lnTo>
                  <a:pt x="22275" y="5829"/>
                </a:lnTo>
                <a:lnTo>
                  <a:pt x="22178" y="6109"/>
                </a:lnTo>
                <a:lnTo>
                  <a:pt x="22076" y="6380"/>
                </a:lnTo>
                <a:lnTo>
                  <a:pt x="21966" y="6651"/>
                </a:lnTo>
                <a:lnTo>
                  <a:pt x="21848" y="6917"/>
                </a:lnTo>
                <a:lnTo>
                  <a:pt x="21725" y="7180"/>
                </a:lnTo>
                <a:lnTo>
                  <a:pt x="21594" y="7442"/>
                </a:lnTo>
                <a:lnTo>
                  <a:pt x="21458" y="7696"/>
                </a:lnTo>
                <a:lnTo>
                  <a:pt x="21319" y="7950"/>
                </a:lnTo>
                <a:lnTo>
                  <a:pt x="21171" y="8200"/>
                </a:lnTo>
                <a:lnTo>
                  <a:pt x="21018" y="8441"/>
                </a:lnTo>
                <a:lnTo>
                  <a:pt x="20862" y="8683"/>
                </a:lnTo>
                <a:lnTo>
                  <a:pt x="20696" y="8920"/>
                </a:lnTo>
                <a:lnTo>
                  <a:pt x="20527" y="9153"/>
                </a:lnTo>
                <a:lnTo>
                  <a:pt x="20354" y="9381"/>
                </a:lnTo>
                <a:lnTo>
                  <a:pt x="20171" y="9606"/>
                </a:lnTo>
                <a:lnTo>
                  <a:pt x="19985" y="9826"/>
                </a:lnTo>
                <a:lnTo>
                  <a:pt x="19795" y="10042"/>
                </a:lnTo>
                <a:lnTo>
                  <a:pt x="19600" y="10249"/>
                </a:lnTo>
                <a:lnTo>
                  <a:pt x="19401" y="10456"/>
                </a:lnTo>
                <a:lnTo>
                  <a:pt x="19194" y="10655"/>
                </a:lnTo>
                <a:lnTo>
                  <a:pt x="18986" y="10850"/>
                </a:lnTo>
                <a:lnTo>
                  <a:pt x="18770" y="11041"/>
                </a:lnTo>
                <a:lnTo>
                  <a:pt x="18550" y="11227"/>
                </a:lnTo>
                <a:lnTo>
                  <a:pt x="18326" y="11409"/>
                </a:lnTo>
                <a:lnTo>
                  <a:pt x="18097" y="11583"/>
                </a:lnTo>
                <a:lnTo>
                  <a:pt x="17864" y="11752"/>
                </a:lnTo>
                <a:lnTo>
                  <a:pt x="17627" y="11917"/>
                </a:lnTo>
                <a:lnTo>
                  <a:pt x="17386" y="12074"/>
                </a:lnTo>
                <a:lnTo>
                  <a:pt x="17145" y="12226"/>
                </a:lnTo>
                <a:lnTo>
                  <a:pt x="16895" y="12374"/>
                </a:lnTo>
                <a:lnTo>
                  <a:pt x="16641" y="12514"/>
                </a:lnTo>
                <a:lnTo>
                  <a:pt x="16387" y="12649"/>
                </a:lnTo>
                <a:lnTo>
                  <a:pt x="16124" y="12781"/>
                </a:lnTo>
                <a:lnTo>
                  <a:pt x="15862" y="12903"/>
                </a:lnTo>
                <a:lnTo>
                  <a:pt x="15595" y="13022"/>
                </a:lnTo>
                <a:lnTo>
                  <a:pt x="15324" y="13132"/>
                </a:lnTo>
                <a:lnTo>
                  <a:pt x="15053" y="13234"/>
                </a:lnTo>
                <a:lnTo>
                  <a:pt x="14774" y="13331"/>
                </a:lnTo>
                <a:lnTo>
                  <a:pt x="14495" y="13424"/>
                </a:lnTo>
                <a:lnTo>
                  <a:pt x="14215" y="13504"/>
                </a:lnTo>
                <a:lnTo>
                  <a:pt x="13927" y="13585"/>
                </a:lnTo>
                <a:lnTo>
                  <a:pt x="13639" y="13653"/>
                </a:lnTo>
                <a:lnTo>
                  <a:pt x="13347" y="13716"/>
                </a:lnTo>
                <a:lnTo>
                  <a:pt x="13055" y="13775"/>
                </a:lnTo>
                <a:lnTo>
                  <a:pt x="12759" y="13822"/>
                </a:lnTo>
                <a:lnTo>
                  <a:pt x="12463" y="13864"/>
                </a:lnTo>
                <a:lnTo>
                  <a:pt x="12162" y="13898"/>
                </a:lnTo>
                <a:lnTo>
                  <a:pt x="11857" y="13924"/>
                </a:lnTo>
                <a:lnTo>
                  <a:pt x="11552" y="13945"/>
                </a:lnTo>
                <a:lnTo>
                  <a:pt x="11248" y="13957"/>
                </a:lnTo>
                <a:lnTo>
                  <a:pt x="10939" y="13962"/>
                </a:lnTo>
                <a:lnTo>
                  <a:pt x="10630" y="13957"/>
                </a:lnTo>
                <a:lnTo>
                  <a:pt x="10320" y="13945"/>
                </a:lnTo>
                <a:lnTo>
                  <a:pt x="10016" y="13924"/>
                </a:lnTo>
                <a:lnTo>
                  <a:pt x="9715" y="13898"/>
                </a:lnTo>
                <a:lnTo>
                  <a:pt x="9415" y="13864"/>
                </a:lnTo>
                <a:lnTo>
                  <a:pt x="9114" y="13822"/>
                </a:lnTo>
                <a:lnTo>
                  <a:pt x="8818" y="13775"/>
                </a:lnTo>
                <a:lnTo>
                  <a:pt x="8526" y="13716"/>
                </a:lnTo>
                <a:lnTo>
                  <a:pt x="8233" y="13653"/>
                </a:lnTo>
                <a:lnTo>
                  <a:pt x="7946" y="13585"/>
                </a:lnTo>
                <a:lnTo>
                  <a:pt x="7662" y="13504"/>
                </a:lnTo>
                <a:lnTo>
                  <a:pt x="7378" y="13424"/>
                </a:lnTo>
                <a:lnTo>
                  <a:pt x="7099" y="13331"/>
                </a:lnTo>
                <a:lnTo>
                  <a:pt x="6824" y="13234"/>
                </a:lnTo>
                <a:lnTo>
                  <a:pt x="6549" y="13132"/>
                </a:lnTo>
                <a:lnTo>
                  <a:pt x="6278" y="13022"/>
                </a:lnTo>
                <a:lnTo>
                  <a:pt x="6011" y="12903"/>
                </a:lnTo>
                <a:lnTo>
                  <a:pt x="5748" y="12781"/>
                </a:lnTo>
                <a:lnTo>
                  <a:pt x="5490" y="12649"/>
                </a:lnTo>
                <a:lnTo>
                  <a:pt x="5232" y="12514"/>
                </a:lnTo>
                <a:lnTo>
                  <a:pt x="4982" y="12374"/>
                </a:lnTo>
                <a:lnTo>
                  <a:pt x="4732" y="12226"/>
                </a:lnTo>
                <a:lnTo>
                  <a:pt x="4487" y="12074"/>
                </a:lnTo>
                <a:lnTo>
                  <a:pt x="4246" y="11917"/>
                </a:lnTo>
                <a:lnTo>
                  <a:pt x="4009" y="11752"/>
                </a:lnTo>
                <a:lnTo>
                  <a:pt x="3776" y="11583"/>
                </a:lnTo>
                <a:lnTo>
                  <a:pt x="3547" y="11409"/>
                </a:lnTo>
                <a:lnTo>
                  <a:pt x="3323" y="11227"/>
                </a:lnTo>
                <a:lnTo>
                  <a:pt x="3107" y="11041"/>
                </a:lnTo>
                <a:lnTo>
                  <a:pt x="2891" y="10850"/>
                </a:lnTo>
                <a:lnTo>
                  <a:pt x="2679" y="10655"/>
                </a:lnTo>
                <a:lnTo>
                  <a:pt x="2476" y="10456"/>
                </a:lnTo>
                <a:lnTo>
                  <a:pt x="2273" y="10249"/>
                </a:lnTo>
                <a:lnTo>
                  <a:pt x="2078" y="10042"/>
                </a:lnTo>
                <a:lnTo>
                  <a:pt x="1888" y="9826"/>
                </a:lnTo>
                <a:lnTo>
                  <a:pt x="1701" y="9606"/>
                </a:lnTo>
                <a:lnTo>
                  <a:pt x="1524" y="9381"/>
                </a:lnTo>
                <a:lnTo>
                  <a:pt x="1346" y="9153"/>
                </a:lnTo>
                <a:lnTo>
                  <a:pt x="1176" y="8920"/>
                </a:lnTo>
                <a:lnTo>
                  <a:pt x="1011" y="8683"/>
                </a:lnTo>
                <a:lnTo>
                  <a:pt x="855" y="8441"/>
                </a:lnTo>
                <a:lnTo>
                  <a:pt x="702" y="8200"/>
                </a:lnTo>
                <a:lnTo>
                  <a:pt x="554" y="7950"/>
                </a:lnTo>
                <a:lnTo>
                  <a:pt x="414" y="7696"/>
                </a:lnTo>
                <a:lnTo>
                  <a:pt x="279" y="7442"/>
                </a:lnTo>
                <a:lnTo>
                  <a:pt x="148" y="7180"/>
                </a:lnTo>
                <a:lnTo>
                  <a:pt x="25" y="6917"/>
                </a:lnTo>
                <a:lnTo>
                  <a:pt x="0" y="6858"/>
                </a:lnTo>
              </a:path>
            </a:pathLst>
          </a:custGeom>
          <a:noFill/>
          <a:ln w="12700" cap="flat">
            <a:solidFill>
              <a:srgbClr val="66C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6" name="Teardrop 8"/>
          <p:cNvSpPr/>
          <p:nvPr userDrawn="1"/>
        </p:nvSpPr>
        <p:spPr>
          <a:xfrm>
            <a:off x="7675489" y="2163524"/>
            <a:ext cx="772971" cy="772971"/>
          </a:xfrm>
          <a:prstGeom prst="teardrop">
            <a:avLst/>
          </a:prstGeom>
          <a:noFill/>
          <a:ln w="12700" cmpd="sng">
            <a:solidFill>
              <a:srgbClr val="66AAD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7" name="Teardrop 8"/>
          <p:cNvSpPr/>
          <p:nvPr userDrawn="1"/>
        </p:nvSpPr>
        <p:spPr>
          <a:xfrm>
            <a:off x="6845160" y="500697"/>
            <a:ext cx="1975126" cy="1975126"/>
          </a:xfrm>
          <a:prstGeom prst="teardrop">
            <a:avLst/>
          </a:prstGeom>
          <a:noFill/>
          <a:ln w="12700" cmpd="sng">
            <a:solidFill>
              <a:srgbClr val="66AAD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727200" y="1774800"/>
            <a:ext cx="4654800" cy="1594800"/>
          </a:xfrm>
        </p:spPr>
        <p:txBody>
          <a:bodyPr>
            <a:normAutofit/>
          </a:bodyPr>
          <a:lstStyle>
            <a:lvl1pPr>
              <a:defRPr sz="3200">
                <a:solidFill>
                  <a:srgbClr val="001177"/>
                </a:solidFill>
              </a:defRPr>
            </a:lvl1pPr>
          </a:lstStyle>
          <a:p>
            <a:r>
              <a:rPr lang="fi-FI"/>
              <a:t>Click to edit</a:t>
            </a:r>
            <a:br>
              <a:rPr lang="fi-FI"/>
            </a:br>
            <a:r>
              <a:rPr lang="fi-FI"/>
              <a:t>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268129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ection Header 4 with Backgroun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/>
          <p:cNvSpPr>
            <a:spLocks/>
          </p:cNvSpPr>
          <p:nvPr userDrawn="1"/>
        </p:nvSpPr>
        <p:spPr bwMode="auto">
          <a:xfrm>
            <a:off x="0" y="0"/>
            <a:ext cx="8255000" cy="5032375"/>
          </a:xfrm>
          <a:custGeom>
            <a:avLst/>
            <a:gdLst>
              <a:gd name="T0" fmla="*/ 22906 w 22906"/>
              <a:gd name="T1" fmla="*/ 1994 h 13962"/>
              <a:gd name="T2" fmla="*/ 22889 w 22906"/>
              <a:gd name="T3" fmla="*/ 2608 h 13962"/>
              <a:gd name="T4" fmla="*/ 22843 w 22906"/>
              <a:gd name="T5" fmla="*/ 3217 h 13962"/>
              <a:gd name="T6" fmla="*/ 22767 w 22906"/>
              <a:gd name="T7" fmla="*/ 3814 h 13962"/>
              <a:gd name="T8" fmla="*/ 22661 w 22906"/>
              <a:gd name="T9" fmla="*/ 4403 h 13962"/>
              <a:gd name="T10" fmla="*/ 22529 w 22906"/>
              <a:gd name="T11" fmla="*/ 4983 h 13962"/>
              <a:gd name="T12" fmla="*/ 22369 w 22906"/>
              <a:gd name="T13" fmla="*/ 5550 h 13962"/>
              <a:gd name="T14" fmla="*/ 22178 w 22906"/>
              <a:gd name="T15" fmla="*/ 6109 h 13962"/>
              <a:gd name="T16" fmla="*/ 21966 w 22906"/>
              <a:gd name="T17" fmla="*/ 6651 h 13962"/>
              <a:gd name="T18" fmla="*/ 21725 w 22906"/>
              <a:gd name="T19" fmla="*/ 7180 h 13962"/>
              <a:gd name="T20" fmla="*/ 21458 w 22906"/>
              <a:gd name="T21" fmla="*/ 7696 h 13962"/>
              <a:gd name="T22" fmla="*/ 21171 w 22906"/>
              <a:gd name="T23" fmla="*/ 8200 h 13962"/>
              <a:gd name="T24" fmla="*/ 20862 w 22906"/>
              <a:gd name="T25" fmla="*/ 8683 h 13962"/>
              <a:gd name="T26" fmla="*/ 20527 w 22906"/>
              <a:gd name="T27" fmla="*/ 9153 h 13962"/>
              <a:gd name="T28" fmla="*/ 20171 w 22906"/>
              <a:gd name="T29" fmla="*/ 9606 h 13962"/>
              <a:gd name="T30" fmla="*/ 19795 w 22906"/>
              <a:gd name="T31" fmla="*/ 10042 h 13962"/>
              <a:gd name="T32" fmla="*/ 19401 w 22906"/>
              <a:gd name="T33" fmla="*/ 10456 h 13962"/>
              <a:gd name="T34" fmla="*/ 18986 w 22906"/>
              <a:gd name="T35" fmla="*/ 10850 h 13962"/>
              <a:gd name="T36" fmla="*/ 18550 w 22906"/>
              <a:gd name="T37" fmla="*/ 11227 h 13962"/>
              <a:gd name="T38" fmla="*/ 18097 w 22906"/>
              <a:gd name="T39" fmla="*/ 11583 h 13962"/>
              <a:gd name="T40" fmla="*/ 17627 w 22906"/>
              <a:gd name="T41" fmla="*/ 11917 h 13962"/>
              <a:gd name="T42" fmla="*/ 17145 w 22906"/>
              <a:gd name="T43" fmla="*/ 12226 h 13962"/>
              <a:gd name="T44" fmla="*/ 16641 w 22906"/>
              <a:gd name="T45" fmla="*/ 12514 h 13962"/>
              <a:gd name="T46" fmla="*/ 16124 w 22906"/>
              <a:gd name="T47" fmla="*/ 12781 h 13962"/>
              <a:gd name="T48" fmla="*/ 15595 w 22906"/>
              <a:gd name="T49" fmla="*/ 13022 h 13962"/>
              <a:gd name="T50" fmla="*/ 15053 w 22906"/>
              <a:gd name="T51" fmla="*/ 13234 h 13962"/>
              <a:gd name="T52" fmla="*/ 14495 w 22906"/>
              <a:gd name="T53" fmla="*/ 13424 h 13962"/>
              <a:gd name="T54" fmla="*/ 13927 w 22906"/>
              <a:gd name="T55" fmla="*/ 13585 h 13962"/>
              <a:gd name="T56" fmla="*/ 13347 w 22906"/>
              <a:gd name="T57" fmla="*/ 13716 h 13962"/>
              <a:gd name="T58" fmla="*/ 12759 w 22906"/>
              <a:gd name="T59" fmla="*/ 13822 h 13962"/>
              <a:gd name="T60" fmla="*/ 12162 w 22906"/>
              <a:gd name="T61" fmla="*/ 13898 h 13962"/>
              <a:gd name="T62" fmla="*/ 11552 w 22906"/>
              <a:gd name="T63" fmla="*/ 13945 h 13962"/>
              <a:gd name="T64" fmla="*/ 10939 w 22906"/>
              <a:gd name="T65" fmla="*/ 13962 h 13962"/>
              <a:gd name="T66" fmla="*/ 10320 w 22906"/>
              <a:gd name="T67" fmla="*/ 13945 h 13962"/>
              <a:gd name="T68" fmla="*/ 9715 w 22906"/>
              <a:gd name="T69" fmla="*/ 13898 h 13962"/>
              <a:gd name="T70" fmla="*/ 9114 w 22906"/>
              <a:gd name="T71" fmla="*/ 13822 h 13962"/>
              <a:gd name="T72" fmla="*/ 8526 w 22906"/>
              <a:gd name="T73" fmla="*/ 13716 h 13962"/>
              <a:gd name="T74" fmla="*/ 7946 w 22906"/>
              <a:gd name="T75" fmla="*/ 13585 h 13962"/>
              <a:gd name="T76" fmla="*/ 7378 w 22906"/>
              <a:gd name="T77" fmla="*/ 13424 h 13962"/>
              <a:gd name="T78" fmla="*/ 6824 w 22906"/>
              <a:gd name="T79" fmla="*/ 13234 h 13962"/>
              <a:gd name="T80" fmla="*/ 6278 w 22906"/>
              <a:gd name="T81" fmla="*/ 13022 h 13962"/>
              <a:gd name="T82" fmla="*/ 5748 w 22906"/>
              <a:gd name="T83" fmla="*/ 12781 h 13962"/>
              <a:gd name="T84" fmla="*/ 5232 w 22906"/>
              <a:gd name="T85" fmla="*/ 12514 h 13962"/>
              <a:gd name="T86" fmla="*/ 4732 w 22906"/>
              <a:gd name="T87" fmla="*/ 12226 h 13962"/>
              <a:gd name="T88" fmla="*/ 4246 w 22906"/>
              <a:gd name="T89" fmla="*/ 11917 h 13962"/>
              <a:gd name="T90" fmla="*/ 3776 w 22906"/>
              <a:gd name="T91" fmla="*/ 11583 h 13962"/>
              <a:gd name="T92" fmla="*/ 3323 w 22906"/>
              <a:gd name="T93" fmla="*/ 11227 h 13962"/>
              <a:gd name="T94" fmla="*/ 2891 w 22906"/>
              <a:gd name="T95" fmla="*/ 10850 h 13962"/>
              <a:gd name="T96" fmla="*/ 2476 w 22906"/>
              <a:gd name="T97" fmla="*/ 10456 h 13962"/>
              <a:gd name="T98" fmla="*/ 2078 w 22906"/>
              <a:gd name="T99" fmla="*/ 10042 h 13962"/>
              <a:gd name="T100" fmla="*/ 1701 w 22906"/>
              <a:gd name="T101" fmla="*/ 9606 h 13962"/>
              <a:gd name="T102" fmla="*/ 1346 w 22906"/>
              <a:gd name="T103" fmla="*/ 9153 h 13962"/>
              <a:gd name="T104" fmla="*/ 1011 w 22906"/>
              <a:gd name="T105" fmla="*/ 8683 h 13962"/>
              <a:gd name="T106" fmla="*/ 702 w 22906"/>
              <a:gd name="T107" fmla="*/ 8200 h 13962"/>
              <a:gd name="T108" fmla="*/ 414 w 22906"/>
              <a:gd name="T109" fmla="*/ 7696 h 13962"/>
              <a:gd name="T110" fmla="*/ 148 w 22906"/>
              <a:gd name="T111" fmla="*/ 7180 h 13962"/>
              <a:gd name="T112" fmla="*/ 0 w 22906"/>
              <a:gd name="T113" fmla="*/ 6858 h 139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906" h="13962">
                <a:moveTo>
                  <a:pt x="22906" y="0"/>
                </a:moveTo>
                <a:lnTo>
                  <a:pt x="22906" y="1994"/>
                </a:lnTo>
                <a:lnTo>
                  <a:pt x="22902" y="2303"/>
                </a:lnTo>
                <a:lnTo>
                  <a:pt x="22889" y="2608"/>
                </a:lnTo>
                <a:lnTo>
                  <a:pt x="22868" y="2913"/>
                </a:lnTo>
                <a:lnTo>
                  <a:pt x="22843" y="3217"/>
                </a:lnTo>
                <a:lnTo>
                  <a:pt x="22809" y="3518"/>
                </a:lnTo>
                <a:lnTo>
                  <a:pt x="22767" y="3814"/>
                </a:lnTo>
                <a:lnTo>
                  <a:pt x="22720" y="4111"/>
                </a:lnTo>
                <a:lnTo>
                  <a:pt x="22661" y="4403"/>
                </a:lnTo>
                <a:lnTo>
                  <a:pt x="22597" y="4695"/>
                </a:lnTo>
                <a:lnTo>
                  <a:pt x="22529" y="4983"/>
                </a:lnTo>
                <a:lnTo>
                  <a:pt x="22449" y="5271"/>
                </a:lnTo>
                <a:lnTo>
                  <a:pt x="22369" y="5550"/>
                </a:lnTo>
                <a:lnTo>
                  <a:pt x="22275" y="5829"/>
                </a:lnTo>
                <a:lnTo>
                  <a:pt x="22178" y="6109"/>
                </a:lnTo>
                <a:lnTo>
                  <a:pt x="22076" y="6380"/>
                </a:lnTo>
                <a:lnTo>
                  <a:pt x="21966" y="6651"/>
                </a:lnTo>
                <a:lnTo>
                  <a:pt x="21848" y="6917"/>
                </a:lnTo>
                <a:lnTo>
                  <a:pt x="21725" y="7180"/>
                </a:lnTo>
                <a:lnTo>
                  <a:pt x="21594" y="7442"/>
                </a:lnTo>
                <a:lnTo>
                  <a:pt x="21458" y="7696"/>
                </a:lnTo>
                <a:lnTo>
                  <a:pt x="21319" y="7950"/>
                </a:lnTo>
                <a:lnTo>
                  <a:pt x="21171" y="8200"/>
                </a:lnTo>
                <a:lnTo>
                  <a:pt x="21018" y="8441"/>
                </a:lnTo>
                <a:lnTo>
                  <a:pt x="20862" y="8683"/>
                </a:lnTo>
                <a:lnTo>
                  <a:pt x="20696" y="8920"/>
                </a:lnTo>
                <a:lnTo>
                  <a:pt x="20527" y="9153"/>
                </a:lnTo>
                <a:lnTo>
                  <a:pt x="20354" y="9381"/>
                </a:lnTo>
                <a:lnTo>
                  <a:pt x="20171" y="9606"/>
                </a:lnTo>
                <a:lnTo>
                  <a:pt x="19985" y="9826"/>
                </a:lnTo>
                <a:lnTo>
                  <a:pt x="19795" y="10042"/>
                </a:lnTo>
                <a:lnTo>
                  <a:pt x="19600" y="10249"/>
                </a:lnTo>
                <a:lnTo>
                  <a:pt x="19401" y="10456"/>
                </a:lnTo>
                <a:lnTo>
                  <a:pt x="19194" y="10655"/>
                </a:lnTo>
                <a:lnTo>
                  <a:pt x="18986" y="10850"/>
                </a:lnTo>
                <a:lnTo>
                  <a:pt x="18770" y="11041"/>
                </a:lnTo>
                <a:lnTo>
                  <a:pt x="18550" y="11227"/>
                </a:lnTo>
                <a:lnTo>
                  <a:pt x="18326" y="11409"/>
                </a:lnTo>
                <a:lnTo>
                  <a:pt x="18097" y="11583"/>
                </a:lnTo>
                <a:lnTo>
                  <a:pt x="17864" y="11752"/>
                </a:lnTo>
                <a:lnTo>
                  <a:pt x="17627" y="11917"/>
                </a:lnTo>
                <a:lnTo>
                  <a:pt x="17386" y="12074"/>
                </a:lnTo>
                <a:lnTo>
                  <a:pt x="17145" y="12226"/>
                </a:lnTo>
                <a:lnTo>
                  <a:pt x="16895" y="12374"/>
                </a:lnTo>
                <a:lnTo>
                  <a:pt x="16641" y="12514"/>
                </a:lnTo>
                <a:lnTo>
                  <a:pt x="16387" y="12649"/>
                </a:lnTo>
                <a:lnTo>
                  <a:pt x="16124" y="12781"/>
                </a:lnTo>
                <a:lnTo>
                  <a:pt x="15862" y="12903"/>
                </a:lnTo>
                <a:lnTo>
                  <a:pt x="15595" y="13022"/>
                </a:lnTo>
                <a:lnTo>
                  <a:pt x="15324" y="13132"/>
                </a:lnTo>
                <a:lnTo>
                  <a:pt x="15053" y="13234"/>
                </a:lnTo>
                <a:lnTo>
                  <a:pt x="14774" y="13331"/>
                </a:lnTo>
                <a:lnTo>
                  <a:pt x="14495" y="13424"/>
                </a:lnTo>
                <a:lnTo>
                  <a:pt x="14215" y="13504"/>
                </a:lnTo>
                <a:lnTo>
                  <a:pt x="13927" y="13585"/>
                </a:lnTo>
                <a:lnTo>
                  <a:pt x="13639" y="13653"/>
                </a:lnTo>
                <a:lnTo>
                  <a:pt x="13347" y="13716"/>
                </a:lnTo>
                <a:lnTo>
                  <a:pt x="13055" y="13775"/>
                </a:lnTo>
                <a:lnTo>
                  <a:pt x="12759" y="13822"/>
                </a:lnTo>
                <a:lnTo>
                  <a:pt x="12463" y="13864"/>
                </a:lnTo>
                <a:lnTo>
                  <a:pt x="12162" y="13898"/>
                </a:lnTo>
                <a:lnTo>
                  <a:pt x="11857" y="13924"/>
                </a:lnTo>
                <a:lnTo>
                  <a:pt x="11552" y="13945"/>
                </a:lnTo>
                <a:lnTo>
                  <a:pt x="11248" y="13957"/>
                </a:lnTo>
                <a:lnTo>
                  <a:pt x="10939" y="13962"/>
                </a:lnTo>
                <a:lnTo>
                  <a:pt x="10630" y="13957"/>
                </a:lnTo>
                <a:lnTo>
                  <a:pt x="10320" y="13945"/>
                </a:lnTo>
                <a:lnTo>
                  <a:pt x="10016" y="13924"/>
                </a:lnTo>
                <a:lnTo>
                  <a:pt x="9715" y="13898"/>
                </a:lnTo>
                <a:lnTo>
                  <a:pt x="9415" y="13864"/>
                </a:lnTo>
                <a:lnTo>
                  <a:pt x="9114" y="13822"/>
                </a:lnTo>
                <a:lnTo>
                  <a:pt x="8818" y="13775"/>
                </a:lnTo>
                <a:lnTo>
                  <a:pt x="8526" y="13716"/>
                </a:lnTo>
                <a:lnTo>
                  <a:pt x="8233" y="13653"/>
                </a:lnTo>
                <a:lnTo>
                  <a:pt x="7946" y="13585"/>
                </a:lnTo>
                <a:lnTo>
                  <a:pt x="7662" y="13504"/>
                </a:lnTo>
                <a:lnTo>
                  <a:pt x="7378" y="13424"/>
                </a:lnTo>
                <a:lnTo>
                  <a:pt x="7099" y="13331"/>
                </a:lnTo>
                <a:lnTo>
                  <a:pt x="6824" y="13234"/>
                </a:lnTo>
                <a:lnTo>
                  <a:pt x="6549" y="13132"/>
                </a:lnTo>
                <a:lnTo>
                  <a:pt x="6278" y="13022"/>
                </a:lnTo>
                <a:lnTo>
                  <a:pt x="6011" y="12903"/>
                </a:lnTo>
                <a:lnTo>
                  <a:pt x="5748" y="12781"/>
                </a:lnTo>
                <a:lnTo>
                  <a:pt x="5490" y="12649"/>
                </a:lnTo>
                <a:lnTo>
                  <a:pt x="5232" y="12514"/>
                </a:lnTo>
                <a:lnTo>
                  <a:pt x="4982" y="12374"/>
                </a:lnTo>
                <a:lnTo>
                  <a:pt x="4732" y="12226"/>
                </a:lnTo>
                <a:lnTo>
                  <a:pt x="4487" y="12074"/>
                </a:lnTo>
                <a:lnTo>
                  <a:pt x="4246" y="11917"/>
                </a:lnTo>
                <a:lnTo>
                  <a:pt x="4009" y="11752"/>
                </a:lnTo>
                <a:lnTo>
                  <a:pt x="3776" y="11583"/>
                </a:lnTo>
                <a:lnTo>
                  <a:pt x="3547" y="11409"/>
                </a:lnTo>
                <a:lnTo>
                  <a:pt x="3323" y="11227"/>
                </a:lnTo>
                <a:lnTo>
                  <a:pt x="3107" y="11041"/>
                </a:lnTo>
                <a:lnTo>
                  <a:pt x="2891" y="10850"/>
                </a:lnTo>
                <a:lnTo>
                  <a:pt x="2679" y="10655"/>
                </a:lnTo>
                <a:lnTo>
                  <a:pt x="2476" y="10456"/>
                </a:lnTo>
                <a:lnTo>
                  <a:pt x="2273" y="10249"/>
                </a:lnTo>
                <a:lnTo>
                  <a:pt x="2078" y="10042"/>
                </a:lnTo>
                <a:lnTo>
                  <a:pt x="1888" y="9826"/>
                </a:lnTo>
                <a:lnTo>
                  <a:pt x="1701" y="9606"/>
                </a:lnTo>
                <a:lnTo>
                  <a:pt x="1524" y="9381"/>
                </a:lnTo>
                <a:lnTo>
                  <a:pt x="1346" y="9153"/>
                </a:lnTo>
                <a:lnTo>
                  <a:pt x="1176" y="8920"/>
                </a:lnTo>
                <a:lnTo>
                  <a:pt x="1011" y="8683"/>
                </a:lnTo>
                <a:lnTo>
                  <a:pt x="855" y="8441"/>
                </a:lnTo>
                <a:lnTo>
                  <a:pt x="702" y="8200"/>
                </a:lnTo>
                <a:lnTo>
                  <a:pt x="554" y="7950"/>
                </a:lnTo>
                <a:lnTo>
                  <a:pt x="414" y="7696"/>
                </a:lnTo>
                <a:lnTo>
                  <a:pt x="279" y="7442"/>
                </a:lnTo>
                <a:lnTo>
                  <a:pt x="148" y="7180"/>
                </a:lnTo>
                <a:lnTo>
                  <a:pt x="25" y="6917"/>
                </a:lnTo>
                <a:lnTo>
                  <a:pt x="0" y="6858"/>
                </a:lnTo>
              </a:path>
            </a:pathLst>
          </a:custGeom>
          <a:noFill/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6" name="Teardrop 8"/>
          <p:cNvSpPr/>
          <p:nvPr userDrawn="1"/>
        </p:nvSpPr>
        <p:spPr>
          <a:xfrm>
            <a:off x="7675489" y="2163524"/>
            <a:ext cx="772971" cy="772971"/>
          </a:xfrm>
          <a:prstGeom prst="teardrop">
            <a:avLst/>
          </a:prstGeom>
          <a:noFill/>
          <a:ln w="12700" cmpd="sng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7" name="Teardrop 8"/>
          <p:cNvSpPr/>
          <p:nvPr userDrawn="1"/>
        </p:nvSpPr>
        <p:spPr>
          <a:xfrm>
            <a:off x="6845160" y="500697"/>
            <a:ext cx="1975126" cy="1975126"/>
          </a:xfrm>
          <a:prstGeom prst="teardrop">
            <a:avLst/>
          </a:prstGeom>
          <a:noFill/>
          <a:ln w="12700" cmpd="sng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727200" y="1774800"/>
            <a:ext cx="4654800" cy="1594800"/>
          </a:xfrm>
        </p:spPr>
        <p:txBody>
          <a:bodyPr>
            <a:norm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fi-FI"/>
              <a:t>Click to edit</a:t>
            </a:r>
            <a:br>
              <a:rPr lang="fi-FI"/>
            </a:br>
            <a:r>
              <a:rPr lang="fi-FI"/>
              <a:t>Master title style</a:t>
            </a:r>
            <a:endParaRPr lang="fi-FI" dirty="0"/>
          </a:p>
        </p:txBody>
      </p:sp>
      <p:grpSp>
        <p:nvGrpSpPr>
          <p:cNvPr id="15" name="Ryhmä 14"/>
          <p:cNvGrpSpPr/>
          <p:nvPr userDrawn="1"/>
        </p:nvGrpSpPr>
        <p:grpSpPr bwMode="black">
          <a:xfrm>
            <a:off x="8034273" y="4831556"/>
            <a:ext cx="869375" cy="145200"/>
            <a:chOff x="1170790" y="2446391"/>
            <a:chExt cx="6636576" cy="1108419"/>
          </a:xfrm>
          <a:solidFill>
            <a:srgbClr val="FFFFFF"/>
          </a:solidFill>
        </p:grpSpPr>
        <p:sp>
          <p:nvSpPr>
            <p:cNvPr id="16" name="Freeform 5"/>
            <p:cNvSpPr>
              <a:spLocks/>
            </p:cNvSpPr>
            <p:nvPr userDrawn="1"/>
          </p:nvSpPr>
          <p:spPr bwMode="black">
            <a:xfrm>
              <a:off x="6555303" y="2446391"/>
              <a:ext cx="1252063" cy="1099843"/>
            </a:xfrm>
            <a:custGeom>
              <a:avLst/>
              <a:gdLst>
                <a:gd name="T0" fmla="*/ 1029 w 5148"/>
                <a:gd name="T1" fmla="*/ 2797 h 4505"/>
                <a:gd name="T2" fmla="*/ 1029 w 5148"/>
                <a:gd name="T3" fmla="*/ 2797 h 4505"/>
                <a:gd name="T4" fmla="*/ 1131 w 5148"/>
                <a:gd name="T5" fmla="*/ 2699 h 4505"/>
                <a:gd name="T6" fmla="*/ 3810 w 5148"/>
                <a:gd name="T7" fmla="*/ 2699 h 4505"/>
                <a:gd name="T8" fmla="*/ 4255 w 5148"/>
                <a:gd name="T9" fmla="*/ 2251 h 4505"/>
                <a:gd name="T10" fmla="*/ 3810 w 5148"/>
                <a:gd name="T11" fmla="*/ 1806 h 4505"/>
                <a:gd name="T12" fmla="*/ 1131 w 5148"/>
                <a:gd name="T13" fmla="*/ 1806 h 4505"/>
                <a:gd name="T14" fmla="*/ 1029 w 5148"/>
                <a:gd name="T15" fmla="*/ 1709 h 4505"/>
                <a:gd name="T16" fmla="*/ 1029 w 5148"/>
                <a:gd name="T17" fmla="*/ 1443 h 4505"/>
                <a:gd name="T18" fmla="*/ 1513 w 5148"/>
                <a:gd name="T19" fmla="*/ 960 h 4505"/>
                <a:gd name="T20" fmla="*/ 4664 w 5148"/>
                <a:gd name="T21" fmla="*/ 960 h 4505"/>
                <a:gd name="T22" fmla="*/ 5148 w 5148"/>
                <a:gd name="T23" fmla="*/ 480 h 4505"/>
                <a:gd name="T24" fmla="*/ 4664 w 5148"/>
                <a:gd name="T25" fmla="*/ 0 h 4505"/>
                <a:gd name="T26" fmla="*/ 1322 w 5148"/>
                <a:gd name="T27" fmla="*/ 0 h 4505"/>
                <a:gd name="T28" fmla="*/ 0 w 5148"/>
                <a:gd name="T29" fmla="*/ 1322 h 4505"/>
                <a:gd name="T30" fmla="*/ 0 w 5148"/>
                <a:gd name="T31" fmla="*/ 3187 h 4505"/>
                <a:gd name="T32" fmla="*/ 1322 w 5148"/>
                <a:gd name="T33" fmla="*/ 4505 h 4505"/>
                <a:gd name="T34" fmla="*/ 4664 w 5148"/>
                <a:gd name="T35" fmla="*/ 4505 h 4505"/>
                <a:gd name="T36" fmla="*/ 5148 w 5148"/>
                <a:gd name="T37" fmla="*/ 4025 h 4505"/>
                <a:gd name="T38" fmla="*/ 4664 w 5148"/>
                <a:gd name="T39" fmla="*/ 3546 h 4505"/>
                <a:gd name="T40" fmla="*/ 1513 w 5148"/>
                <a:gd name="T41" fmla="*/ 3546 h 4505"/>
                <a:gd name="T42" fmla="*/ 1029 w 5148"/>
                <a:gd name="T43" fmla="*/ 3062 h 4505"/>
                <a:gd name="T44" fmla="*/ 1029 w 5148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8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31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6" y="1806"/>
                    <a:pt x="3810" y="1806"/>
                  </a:cubicBezTo>
                  <a:lnTo>
                    <a:pt x="1131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4"/>
                    <a:pt x="1244" y="960"/>
                    <a:pt x="1513" y="960"/>
                  </a:cubicBezTo>
                  <a:lnTo>
                    <a:pt x="4664" y="960"/>
                  </a:lnTo>
                  <a:cubicBezTo>
                    <a:pt x="4929" y="960"/>
                    <a:pt x="5148" y="745"/>
                    <a:pt x="5148" y="480"/>
                  </a:cubicBezTo>
                  <a:cubicBezTo>
                    <a:pt x="5148" y="215"/>
                    <a:pt x="4929" y="0"/>
                    <a:pt x="4664" y="0"/>
                  </a:cubicBezTo>
                  <a:lnTo>
                    <a:pt x="1322" y="0"/>
                  </a:lnTo>
                  <a:cubicBezTo>
                    <a:pt x="593" y="4"/>
                    <a:pt x="0" y="593"/>
                    <a:pt x="0" y="1322"/>
                  </a:cubicBezTo>
                  <a:lnTo>
                    <a:pt x="0" y="3187"/>
                  </a:lnTo>
                  <a:cubicBezTo>
                    <a:pt x="0" y="3912"/>
                    <a:pt x="593" y="4501"/>
                    <a:pt x="1322" y="4505"/>
                  </a:cubicBezTo>
                  <a:lnTo>
                    <a:pt x="4664" y="4505"/>
                  </a:lnTo>
                  <a:cubicBezTo>
                    <a:pt x="4929" y="4505"/>
                    <a:pt x="5148" y="4291"/>
                    <a:pt x="5148" y="4025"/>
                  </a:cubicBezTo>
                  <a:cubicBezTo>
                    <a:pt x="5148" y="3760"/>
                    <a:pt x="4929" y="3546"/>
                    <a:pt x="4664" y="3546"/>
                  </a:cubicBezTo>
                  <a:lnTo>
                    <a:pt x="1513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6"/>
            <p:cNvSpPr>
              <a:spLocks/>
            </p:cNvSpPr>
            <p:nvPr userDrawn="1"/>
          </p:nvSpPr>
          <p:spPr bwMode="black">
            <a:xfrm>
              <a:off x="3875374" y="2446391"/>
              <a:ext cx="1275646" cy="1099843"/>
            </a:xfrm>
            <a:custGeom>
              <a:avLst/>
              <a:gdLst>
                <a:gd name="T0" fmla="*/ 4158 w 5245"/>
                <a:gd name="T1" fmla="*/ 3304 h 4505"/>
                <a:gd name="T2" fmla="*/ 4158 w 5245"/>
                <a:gd name="T3" fmla="*/ 3304 h 4505"/>
                <a:gd name="T4" fmla="*/ 4240 w 5245"/>
                <a:gd name="T5" fmla="*/ 3421 h 4505"/>
                <a:gd name="T6" fmla="*/ 4115 w 5245"/>
                <a:gd name="T7" fmla="*/ 3546 h 4505"/>
                <a:gd name="T8" fmla="*/ 671 w 5245"/>
                <a:gd name="T9" fmla="*/ 3546 h 4505"/>
                <a:gd name="T10" fmla="*/ 187 w 5245"/>
                <a:gd name="T11" fmla="*/ 4025 h 4505"/>
                <a:gd name="T12" fmla="*/ 671 w 5245"/>
                <a:gd name="T13" fmla="*/ 4505 h 4505"/>
                <a:gd name="T14" fmla="*/ 4169 w 5245"/>
                <a:gd name="T15" fmla="*/ 4505 h 4505"/>
                <a:gd name="T16" fmla="*/ 5245 w 5245"/>
                <a:gd name="T17" fmla="*/ 3428 h 4505"/>
                <a:gd name="T18" fmla="*/ 4540 w 5245"/>
                <a:gd name="T19" fmla="*/ 2418 h 4505"/>
                <a:gd name="T20" fmla="*/ 1092 w 5245"/>
                <a:gd name="T21" fmla="*/ 1201 h 4505"/>
                <a:gd name="T22" fmla="*/ 1010 w 5245"/>
                <a:gd name="T23" fmla="*/ 1084 h 4505"/>
                <a:gd name="T24" fmla="*/ 1131 w 5245"/>
                <a:gd name="T25" fmla="*/ 960 h 4505"/>
                <a:gd name="T26" fmla="*/ 4575 w 5245"/>
                <a:gd name="T27" fmla="*/ 960 h 4505"/>
                <a:gd name="T28" fmla="*/ 5054 w 5245"/>
                <a:gd name="T29" fmla="*/ 480 h 4505"/>
                <a:gd name="T30" fmla="*/ 4575 w 5245"/>
                <a:gd name="T31" fmla="*/ 0 h 4505"/>
                <a:gd name="T32" fmla="*/ 1072 w 5245"/>
                <a:gd name="T33" fmla="*/ 0 h 4505"/>
                <a:gd name="T34" fmla="*/ 0 w 5245"/>
                <a:gd name="T35" fmla="*/ 1077 h 4505"/>
                <a:gd name="T36" fmla="*/ 667 w 5245"/>
                <a:gd name="T37" fmla="*/ 2071 h 4505"/>
                <a:gd name="T38" fmla="*/ 4158 w 5245"/>
                <a:gd name="T39" fmla="*/ 3304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45" h="4505">
                  <a:moveTo>
                    <a:pt x="4158" y="3304"/>
                  </a:moveTo>
                  <a:lnTo>
                    <a:pt x="4158" y="3304"/>
                  </a:lnTo>
                  <a:cubicBezTo>
                    <a:pt x="4201" y="3323"/>
                    <a:pt x="4240" y="3366"/>
                    <a:pt x="4240" y="3421"/>
                  </a:cubicBezTo>
                  <a:cubicBezTo>
                    <a:pt x="4240" y="3487"/>
                    <a:pt x="4181" y="3546"/>
                    <a:pt x="4115" y="3546"/>
                  </a:cubicBezTo>
                  <a:lnTo>
                    <a:pt x="671" y="3546"/>
                  </a:lnTo>
                  <a:cubicBezTo>
                    <a:pt x="402" y="3546"/>
                    <a:pt x="187" y="3760"/>
                    <a:pt x="187" y="4025"/>
                  </a:cubicBezTo>
                  <a:cubicBezTo>
                    <a:pt x="187" y="4291"/>
                    <a:pt x="406" y="4505"/>
                    <a:pt x="671" y="4505"/>
                  </a:cubicBezTo>
                  <a:lnTo>
                    <a:pt x="4169" y="4505"/>
                  </a:lnTo>
                  <a:cubicBezTo>
                    <a:pt x="4758" y="4505"/>
                    <a:pt x="5245" y="4021"/>
                    <a:pt x="5245" y="3428"/>
                  </a:cubicBezTo>
                  <a:cubicBezTo>
                    <a:pt x="5245" y="2964"/>
                    <a:pt x="4949" y="2570"/>
                    <a:pt x="4540" y="2418"/>
                  </a:cubicBezTo>
                  <a:lnTo>
                    <a:pt x="1092" y="1201"/>
                  </a:lnTo>
                  <a:cubicBezTo>
                    <a:pt x="1045" y="1186"/>
                    <a:pt x="1010" y="1139"/>
                    <a:pt x="1010" y="1084"/>
                  </a:cubicBezTo>
                  <a:cubicBezTo>
                    <a:pt x="1010" y="1018"/>
                    <a:pt x="1061" y="960"/>
                    <a:pt x="1131" y="960"/>
                  </a:cubicBezTo>
                  <a:lnTo>
                    <a:pt x="4575" y="960"/>
                  </a:lnTo>
                  <a:cubicBezTo>
                    <a:pt x="4840" y="960"/>
                    <a:pt x="5054" y="745"/>
                    <a:pt x="5054" y="480"/>
                  </a:cubicBezTo>
                  <a:cubicBezTo>
                    <a:pt x="5054" y="215"/>
                    <a:pt x="4836" y="0"/>
                    <a:pt x="4575" y="0"/>
                  </a:cubicBezTo>
                  <a:lnTo>
                    <a:pt x="1072" y="0"/>
                  </a:lnTo>
                  <a:cubicBezTo>
                    <a:pt x="476" y="0"/>
                    <a:pt x="0" y="484"/>
                    <a:pt x="0" y="1077"/>
                  </a:cubicBezTo>
                  <a:cubicBezTo>
                    <a:pt x="0" y="1525"/>
                    <a:pt x="277" y="1911"/>
                    <a:pt x="667" y="2071"/>
                  </a:cubicBezTo>
                  <a:lnTo>
                    <a:pt x="4158" y="3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7"/>
            <p:cNvSpPr>
              <a:spLocks/>
            </p:cNvSpPr>
            <p:nvPr userDrawn="1"/>
          </p:nvSpPr>
          <p:spPr bwMode="black">
            <a:xfrm>
              <a:off x="5196043" y="2446391"/>
              <a:ext cx="1321741" cy="1108419"/>
            </a:xfrm>
            <a:custGeom>
              <a:avLst/>
              <a:gdLst>
                <a:gd name="T0" fmla="*/ 2196 w 5433"/>
                <a:gd name="T1" fmla="*/ 4025 h 4540"/>
                <a:gd name="T2" fmla="*/ 2196 w 5433"/>
                <a:gd name="T3" fmla="*/ 4025 h 4540"/>
                <a:gd name="T4" fmla="*/ 2710 w 5433"/>
                <a:gd name="T5" fmla="*/ 4540 h 4540"/>
                <a:gd name="T6" fmla="*/ 3225 w 5433"/>
                <a:gd name="T7" fmla="*/ 4025 h 4540"/>
                <a:gd name="T8" fmla="*/ 3225 w 5433"/>
                <a:gd name="T9" fmla="*/ 1061 h 4540"/>
                <a:gd name="T10" fmla="*/ 3327 w 5433"/>
                <a:gd name="T11" fmla="*/ 960 h 4540"/>
                <a:gd name="T12" fmla="*/ 4953 w 5433"/>
                <a:gd name="T13" fmla="*/ 960 h 4540"/>
                <a:gd name="T14" fmla="*/ 5433 w 5433"/>
                <a:gd name="T15" fmla="*/ 480 h 4540"/>
                <a:gd name="T16" fmla="*/ 4953 w 5433"/>
                <a:gd name="T17" fmla="*/ 0 h 4540"/>
                <a:gd name="T18" fmla="*/ 479 w 5433"/>
                <a:gd name="T19" fmla="*/ 0 h 4540"/>
                <a:gd name="T20" fmla="*/ 0 w 5433"/>
                <a:gd name="T21" fmla="*/ 480 h 4540"/>
                <a:gd name="T22" fmla="*/ 479 w 5433"/>
                <a:gd name="T23" fmla="*/ 960 h 4540"/>
                <a:gd name="T24" fmla="*/ 2098 w 5433"/>
                <a:gd name="T25" fmla="*/ 960 h 4540"/>
                <a:gd name="T26" fmla="*/ 2196 w 5433"/>
                <a:gd name="T27" fmla="*/ 1061 h 4540"/>
                <a:gd name="T28" fmla="*/ 2196 w 5433"/>
                <a:gd name="T29" fmla="*/ 4025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33" h="4540">
                  <a:moveTo>
                    <a:pt x="2196" y="4025"/>
                  </a:moveTo>
                  <a:lnTo>
                    <a:pt x="2196" y="4025"/>
                  </a:lnTo>
                  <a:cubicBezTo>
                    <a:pt x="2192" y="4310"/>
                    <a:pt x="2426" y="4540"/>
                    <a:pt x="2710" y="4540"/>
                  </a:cubicBezTo>
                  <a:cubicBezTo>
                    <a:pt x="2995" y="4540"/>
                    <a:pt x="3225" y="4310"/>
                    <a:pt x="3225" y="4025"/>
                  </a:cubicBezTo>
                  <a:lnTo>
                    <a:pt x="3225" y="1061"/>
                  </a:lnTo>
                  <a:cubicBezTo>
                    <a:pt x="3225" y="1003"/>
                    <a:pt x="3272" y="960"/>
                    <a:pt x="3327" y="960"/>
                  </a:cubicBezTo>
                  <a:lnTo>
                    <a:pt x="4953" y="960"/>
                  </a:lnTo>
                  <a:cubicBezTo>
                    <a:pt x="5218" y="960"/>
                    <a:pt x="5433" y="745"/>
                    <a:pt x="5433" y="480"/>
                  </a:cubicBezTo>
                  <a:cubicBezTo>
                    <a:pt x="5433" y="215"/>
                    <a:pt x="5214" y="0"/>
                    <a:pt x="4953" y="0"/>
                  </a:cubicBezTo>
                  <a:lnTo>
                    <a:pt x="479" y="0"/>
                  </a:lnTo>
                  <a:cubicBezTo>
                    <a:pt x="214" y="0"/>
                    <a:pt x="0" y="215"/>
                    <a:pt x="0" y="480"/>
                  </a:cubicBezTo>
                  <a:cubicBezTo>
                    <a:pt x="0" y="745"/>
                    <a:pt x="214" y="960"/>
                    <a:pt x="479" y="960"/>
                  </a:cubicBezTo>
                  <a:lnTo>
                    <a:pt x="2098" y="960"/>
                  </a:lnTo>
                  <a:cubicBezTo>
                    <a:pt x="2153" y="960"/>
                    <a:pt x="2196" y="1003"/>
                    <a:pt x="2196" y="1061"/>
                  </a:cubicBezTo>
                  <a:lnTo>
                    <a:pt x="2196" y="40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black">
            <a:xfrm>
              <a:off x="2550417" y="2446391"/>
              <a:ext cx="1250991" cy="1099843"/>
            </a:xfrm>
            <a:custGeom>
              <a:avLst/>
              <a:gdLst>
                <a:gd name="T0" fmla="*/ 1029 w 5144"/>
                <a:gd name="T1" fmla="*/ 2797 h 4505"/>
                <a:gd name="T2" fmla="*/ 1029 w 5144"/>
                <a:gd name="T3" fmla="*/ 2797 h 4505"/>
                <a:gd name="T4" fmla="*/ 1127 w 5144"/>
                <a:gd name="T5" fmla="*/ 2699 h 4505"/>
                <a:gd name="T6" fmla="*/ 3810 w 5144"/>
                <a:gd name="T7" fmla="*/ 2699 h 4505"/>
                <a:gd name="T8" fmla="*/ 4255 w 5144"/>
                <a:gd name="T9" fmla="*/ 2251 h 4505"/>
                <a:gd name="T10" fmla="*/ 3810 w 5144"/>
                <a:gd name="T11" fmla="*/ 1806 h 4505"/>
                <a:gd name="T12" fmla="*/ 1127 w 5144"/>
                <a:gd name="T13" fmla="*/ 1806 h 4505"/>
                <a:gd name="T14" fmla="*/ 1029 w 5144"/>
                <a:gd name="T15" fmla="*/ 1709 h 4505"/>
                <a:gd name="T16" fmla="*/ 1029 w 5144"/>
                <a:gd name="T17" fmla="*/ 1443 h 4505"/>
                <a:gd name="T18" fmla="*/ 1509 w 5144"/>
                <a:gd name="T19" fmla="*/ 960 h 4505"/>
                <a:gd name="T20" fmla="*/ 4664 w 5144"/>
                <a:gd name="T21" fmla="*/ 960 h 4505"/>
                <a:gd name="T22" fmla="*/ 5144 w 5144"/>
                <a:gd name="T23" fmla="*/ 480 h 4505"/>
                <a:gd name="T24" fmla="*/ 4664 w 5144"/>
                <a:gd name="T25" fmla="*/ 0 h 4505"/>
                <a:gd name="T26" fmla="*/ 1318 w 5144"/>
                <a:gd name="T27" fmla="*/ 0 h 4505"/>
                <a:gd name="T28" fmla="*/ 0 w 5144"/>
                <a:gd name="T29" fmla="*/ 1318 h 4505"/>
                <a:gd name="T30" fmla="*/ 0 w 5144"/>
                <a:gd name="T31" fmla="*/ 3187 h 4505"/>
                <a:gd name="T32" fmla="*/ 1318 w 5144"/>
                <a:gd name="T33" fmla="*/ 4505 h 4505"/>
                <a:gd name="T34" fmla="*/ 4664 w 5144"/>
                <a:gd name="T35" fmla="*/ 4505 h 4505"/>
                <a:gd name="T36" fmla="*/ 5144 w 5144"/>
                <a:gd name="T37" fmla="*/ 4025 h 4505"/>
                <a:gd name="T38" fmla="*/ 4664 w 5144"/>
                <a:gd name="T39" fmla="*/ 3546 h 4505"/>
                <a:gd name="T40" fmla="*/ 1509 w 5144"/>
                <a:gd name="T41" fmla="*/ 3546 h 4505"/>
                <a:gd name="T42" fmla="*/ 1029 w 5144"/>
                <a:gd name="T43" fmla="*/ 3062 h 4505"/>
                <a:gd name="T44" fmla="*/ 1029 w 5144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4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27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2" y="1806"/>
                    <a:pt x="3810" y="1806"/>
                  </a:cubicBezTo>
                  <a:lnTo>
                    <a:pt x="1127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8"/>
                    <a:pt x="1244" y="960"/>
                    <a:pt x="1509" y="960"/>
                  </a:cubicBezTo>
                  <a:lnTo>
                    <a:pt x="4664" y="960"/>
                  </a:lnTo>
                  <a:cubicBezTo>
                    <a:pt x="4929" y="960"/>
                    <a:pt x="5144" y="745"/>
                    <a:pt x="5144" y="480"/>
                  </a:cubicBezTo>
                  <a:cubicBezTo>
                    <a:pt x="5144" y="215"/>
                    <a:pt x="4929" y="0"/>
                    <a:pt x="4664" y="0"/>
                  </a:cubicBezTo>
                  <a:lnTo>
                    <a:pt x="1318" y="0"/>
                  </a:lnTo>
                  <a:cubicBezTo>
                    <a:pt x="588" y="4"/>
                    <a:pt x="0" y="593"/>
                    <a:pt x="0" y="1318"/>
                  </a:cubicBezTo>
                  <a:lnTo>
                    <a:pt x="0" y="3187"/>
                  </a:lnTo>
                  <a:cubicBezTo>
                    <a:pt x="0" y="3916"/>
                    <a:pt x="588" y="4501"/>
                    <a:pt x="1318" y="4505"/>
                  </a:cubicBezTo>
                  <a:lnTo>
                    <a:pt x="4664" y="4505"/>
                  </a:lnTo>
                  <a:cubicBezTo>
                    <a:pt x="4929" y="4505"/>
                    <a:pt x="5144" y="4291"/>
                    <a:pt x="5144" y="4025"/>
                  </a:cubicBezTo>
                  <a:cubicBezTo>
                    <a:pt x="5144" y="3760"/>
                    <a:pt x="4929" y="3546"/>
                    <a:pt x="4664" y="3546"/>
                  </a:cubicBezTo>
                  <a:lnTo>
                    <a:pt x="1509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9"/>
            <p:cNvSpPr>
              <a:spLocks/>
            </p:cNvSpPr>
            <p:nvPr userDrawn="1"/>
          </p:nvSpPr>
          <p:spPr bwMode="black">
            <a:xfrm>
              <a:off x="1170790" y="2446391"/>
              <a:ext cx="1253135" cy="1108419"/>
            </a:xfrm>
            <a:custGeom>
              <a:avLst/>
              <a:gdLst>
                <a:gd name="T0" fmla="*/ 98 w 5152"/>
                <a:gd name="T1" fmla="*/ 0 h 4540"/>
                <a:gd name="T2" fmla="*/ 3834 w 5152"/>
                <a:gd name="T3" fmla="*/ 0 h 4540"/>
                <a:gd name="T4" fmla="*/ 5152 w 5152"/>
                <a:gd name="T5" fmla="*/ 1318 h 4540"/>
                <a:gd name="T6" fmla="*/ 5152 w 5152"/>
                <a:gd name="T7" fmla="*/ 4025 h 4540"/>
                <a:gd name="T8" fmla="*/ 4637 w 5152"/>
                <a:gd name="T9" fmla="*/ 4540 h 4540"/>
                <a:gd name="T10" fmla="*/ 4122 w 5152"/>
                <a:gd name="T11" fmla="*/ 4025 h 4540"/>
                <a:gd name="T12" fmla="*/ 4122 w 5152"/>
                <a:gd name="T13" fmla="*/ 1443 h 4540"/>
                <a:gd name="T14" fmla="*/ 3643 w 5152"/>
                <a:gd name="T15" fmla="*/ 960 h 4540"/>
                <a:gd name="T16" fmla="*/ 1131 w 5152"/>
                <a:gd name="T17" fmla="*/ 960 h 4540"/>
                <a:gd name="T18" fmla="*/ 1034 w 5152"/>
                <a:gd name="T19" fmla="*/ 1061 h 4540"/>
                <a:gd name="T20" fmla="*/ 1034 w 5152"/>
                <a:gd name="T21" fmla="*/ 4025 h 4540"/>
                <a:gd name="T22" fmla="*/ 515 w 5152"/>
                <a:gd name="T23" fmla="*/ 4540 h 4540"/>
                <a:gd name="T24" fmla="*/ 0 w 5152"/>
                <a:gd name="T25" fmla="*/ 4025 h 4540"/>
                <a:gd name="T26" fmla="*/ 0 w 5152"/>
                <a:gd name="T27" fmla="*/ 98 h 4540"/>
                <a:gd name="T28" fmla="*/ 98 w 5152"/>
                <a:gd name="T29" fmla="*/ 0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2" h="4540">
                  <a:moveTo>
                    <a:pt x="98" y="0"/>
                  </a:moveTo>
                  <a:lnTo>
                    <a:pt x="3834" y="0"/>
                  </a:lnTo>
                  <a:cubicBezTo>
                    <a:pt x="4563" y="0"/>
                    <a:pt x="5152" y="593"/>
                    <a:pt x="5152" y="1318"/>
                  </a:cubicBezTo>
                  <a:lnTo>
                    <a:pt x="5152" y="4025"/>
                  </a:lnTo>
                  <a:cubicBezTo>
                    <a:pt x="5152" y="4310"/>
                    <a:pt x="4922" y="4540"/>
                    <a:pt x="4637" y="4540"/>
                  </a:cubicBezTo>
                  <a:cubicBezTo>
                    <a:pt x="4353" y="4540"/>
                    <a:pt x="4119" y="4310"/>
                    <a:pt x="4122" y="4025"/>
                  </a:cubicBezTo>
                  <a:lnTo>
                    <a:pt x="4122" y="1443"/>
                  </a:lnTo>
                  <a:cubicBezTo>
                    <a:pt x="4119" y="1178"/>
                    <a:pt x="3908" y="960"/>
                    <a:pt x="3643" y="960"/>
                  </a:cubicBezTo>
                  <a:lnTo>
                    <a:pt x="1131" y="960"/>
                  </a:lnTo>
                  <a:cubicBezTo>
                    <a:pt x="1077" y="960"/>
                    <a:pt x="1030" y="1006"/>
                    <a:pt x="1034" y="1061"/>
                  </a:cubicBezTo>
                  <a:lnTo>
                    <a:pt x="1034" y="4025"/>
                  </a:lnTo>
                  <a:cubicBezTo>
                    <a:pt x="1034" y="4310"/>
                    <a:pt x="800" y="4540"/>
                    <a:pt x="515" y="4540"/>
                  </a:cubicBezTo>
                  <a:cubicBezTo>
                    <a:pt x="230" y="4540"/>
                    <a:pt x="0" y="4310"/>
                    <a:pt x="0" y="4025"/>
                  </a:cubicBezTo>
                  <a:lnTo>
                    <a:pt x="0" y="98"/>
                  </a:lnTo>
                  <a:cubicBezTo>
                    <a:pt x="0" y="43"/>
                    <a:pt x="47" y="0"/>
                    <a:pt x="9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7100575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ext with Backgroun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244800" y="1833504"/>
            <a:ext cx="8654400" cy="1452193"/>
          </a:xfrm>
        </p:spPr>
        <p:txBody>
          <a:bodyPr>
            <a:noAutofit/>
          </a:bodyPr>
          <a:lstStyle>
            <a:lvl1pPr algn="ctr"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</a:t>
            </a:r>
            <a:br>
              <a:rPr lang="fi-FI"/>
            </a:br>
            <a:r>
              <a:rPr lang="fi-FI"/>
              <a:t>Master title style</a:t>
            </a:r>
            <a:endParaRPr lang="fi-FI" dirty="0"/>
          </a:p>
        </p:txBody>
      </p:sp>
      <p:grpSp>
        <p:nvGrpSpPr>
          <p:cNvPr id="9" name="Ryhmä 8"/>
          <p:cNvGrpSpPr/>
          <p:nvPr userDrawn="1"/>
        </p:nvGrpSpPr>
        <p:grpSpPr bwMode="black">
          <a:xfrm>
            <a:off x="8034273" y="4831556"/>
            <a:ext cx="869375" cy="145200"/>
            <a:chOff x="1170790" y="2446391"/>
            <a:chExt cx="6636576" cy="1108419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black">
            <a:xfrm>
              <a:off x="6555303" y="2446391"/>
              <a:ext cx="1252063" cy="1099843"/>
            </a:xfrm>
            <a:custGeom>
              <a:avLst/>
              <a:gdLst>
                <a:gd name="T0" fmla="*/ 1029 w 5148"/>
                <a:gd name="T1" fmla="*/ 2797 h 4505"/>
                <a:gd name="T2" fmla="*/ 1029 w 5148"/>
                <a:gd name="T3" fmla="*/ 2797 h 4505"/>
                <a:gd name="T4" fmla="*/ 1131 w 5148"/>
                <a:gd name="T5" fmla="*/ 2699 h 4505"/>
                <a:gd name="T6" fmla="*/ 3810 w 5148"/>
                <a:gd name="T7" fmla="*/ 2699 h 4505"/>
                <a:gd name="T8" fmla="*/ 4255 w 5148"/>
                <a:gd name="T9" fmla="*/ 2251 h 4505"/>
                <a:gd name="T10" fmla="*/ 3810 w 5148"/>
                <a:gd name="T11" fmla="*/ 1806 h 4505"/>
                <a:gd name="T12" fmla="*/ 1131 w 5148"/>
                <a:gd name="T13" fmla="*/ 1806 h 4505"/>
                <a:gd name="T14" fmla="*/ 1029 w 5148"/>
                <a:gd name="T15" fmla="*/ 1709 h 4505"/>
                <a:gd name="T16" fmla="*/ 1029 w 5148"/>
                <a:gd name="T17" fmla="*/ 1443 h 4505"/>
                <a:gd name="T18" fmla="*/ 1513 w 5148"/>
                <a:gd name="T19" fmla="*/ 960 h 4505"/>
                <a:gd name="T20" fmla="*/ 4664 w 5148"/>
                <a:gd name="T21" fmla="*/ 960 h 4505"/>
                <a:gd name="T22" fmla="*/ 5148 w 5148"/>
                <a:gd name="T23" fmla="*/ 480 h 4505"/>
                <a:gd name="T24" fmla="*/ 4664 w 5148"/>
                <a:gd name="T25" fmla="*/ 0 h 4505"/>
                <a:gd name="T26" fmla="*/ 1322 w 5148"/>
                <a:gd name="T27" fmla="*/ 0 h 4505"/>
                <a:gd name="T28" fmla="*/ 0 w 5148"/>
                <a:gd name="T29" fmla="*/ 1322 h 4505"/>
                <a:gd name="T30" fmla="*/ 0 w 5148"/>
                <a:gd name="T31" fmla="*/ 3187 h 4505"/>
                <a:gd name="T32" fmla="*/ 1322 w 5148"/>
                <a:gd name="T33" fmla="*/ 4505 h 4505"/>
                <a:gd name="T34" fmla="*/ 4664 w 5148"/>
                <a:gd name="T35" fmla="*/ 4505 h 4505"/>
                <a:gd name="T36" fmla="*/ 5148 w 5148"/>
                <a:gd name="T37" fmla="*/ 4025 h 4505"/>
                <a:gd name="T38" fmla="*/ 4664 w 5148"/>
                <a:gd name="T39" fmla="*/ 3546 h 4505"/>
                <a:gd name="T40" fmla="*/ 1513 w 5148"/>
                <a:gd name="T41" fmla="*/ 3546 h 4505"/>
                <a:gd name="T42" fmla="*/ 1029 w 5148"/>
                <a:gd name="T43" fmla="*/ 3062 h 4505"/>
                <a:gd name="T44" fmla="*/ 1029 w 5148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8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31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6" y="1806"/>
                    <a:pt x="3810" y="1806"/>
                  </a:cubicBezTo>
                  <a:lnTo>
                    <a:pt x="1131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4"/>
                    <a:pt x="1244" y="960"/>
                    <a:pt x="1513" y="960"/>
                  </a:cubicBezTo>
                  <a:lnTo>
                    <a:pt x="4664" y="960"/>
                  </a:lnTo>
                  <a:cubicBezTo>
                    <a:pt x="4929" y="960"/>
                    <a:pt x="5148" y="745"/>
                    <a:pt x="5148" y="480"/>
                  </a:cubicBezTo>
                  <a:cubicBezTo>
                    <a:pt x="5148" y="215"/>
                    <a:pt x="4929" y="0"/>
                    <a:pt x="4664" y="0"/>
                  </a:cubicBezTo>
                  <a:lnTo>
                    <a:pt x="1322" y="0"/>
                  </a:lnTo>
                  <a:cubicBezTo>
                    <a:pt x="593" y="4"/>
                    <a:pt x="0" y="593"/>
                    <a:pt x="0" y="1322"/>
                  </a:cubicBezTo>
                  <a:lnTo>
                    <a:pt x="0" y="3187"/>
                  </a:lnTo>
                  <a:cubicBezTo>
                    <a:pt x="0" y="3912"/>
                    <a:pt x="593" y="4501"/>
                    <a:pt x="1322" y="4505"/>
                  </a:cubicBezTo>
                  <a:lnTo>
                    <a:pt x="4664" y="4505"/>
                  </a:lnTo>
                  <a:cubicBezTo>
                    <a:pt x="4929" y="4505"/>
                    <a:pt x="5148" y="4291"/>
                    <a:pt x="5148" y="4025"/>
                  </a:cubicBezTo>
                  <a:cubicBezTo>
                    <a:pt x="5148" y="3760"/>
                    <a:pt x="4929" y="3546"/>
                    <a:pt x="4664" y="3546"/>
                  </a:cubicBezTo>
                  <a:lnTo>
                    <a:pt x="1513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black">
            <a:xfrm>
              <a:off x="3875374" y="2446391"/>
              <a:ext cx="1275646" cy="1099843"/>
            </a:xfrm>
            <a:custGeom>
              <a:avLst/>
              <a:gdLst>
                <a:gd name="T0" fmla="*/ 4158 w 5245"/>
                <a:gd name="T1" fmla="*/ 3304 h 4505"/>
                <a:gd name="T2" fmla="*/ 4158 w 5245"/>
                <a:gd name="T3" fmla="*/ 3304 h 4505"/>
                <a:gd name="T4" fmla="*/ 4240 w 5245"/>
                <a:gd name="T5" fmla="*/ 3421 h 4505"/>
                <a:gd name="T6" fmla="*/ 4115 w 5245"/>
                <a:gd name="T7" fmla="*/ 3546 h 4505"/>
                <a:gd name="T8" fmla="*/ 671 w 5245"/>
                <a:gd name="T9" fmla="*/ 3546 h 4505"/>
                <a:gd name="T10" fmla="*/ 187 w 5245"/>
                <a:gd name="T11" fmla="*/ 4025 h 4505"/>
                <a:gd name="T12" fmla="*/ 671 w 5245"/>
                <a:gd name="T13" fmla="*/ 4505 h 4505"/>
                <a:gd name="T14" fmla="*/ 4169 w 5245"/>
                <a:gd name="T15" fmla="*/ 4505 h 4505"/>
                <a:gd name="T16" fmla="*/ 5245 w 5245"/>
                <a:gd name="T17" fmla="*/ 3428 h 4505"/>
                <a:gd name="T18" fmla="*/ 4540 w 5245"/>
                <a:gd name="T19" fmla="*/ 2418 h 4505"/>
                <a:gd name="T20" fmla="*/ 1092 w 5245"/>
                <a:gd name="T21" fmla="*/ 1201 h 4505"/>
                <a:gd name="T22" fmla="*/ 1010 w 5245"/>
                <a:gd name="T23" fmla="*/ 1084 h 4505"/>
                <a:gd name="T24" fmla="*/ 1131 w 5245"/>
                <a:gd name="T25" fmla="*/ 960 h 4505"/>
                <a:gd name="T26" fmla="*/ 4575 w 5245"/>
                <a:gd name="T27" fmla="*/ 960 h 4505"/>
                <a:gd name="T28" fmla="*/ 5054 w 5245"/>
                <a:gd name="T29" fmla="*/ 480 h 4505"/>
                <a:gd name="T30" fmla="*/ 4575 w 5245"/>
                <a:gd name="T31" fmla="*/ 0 h 4505"/>
                <a:gd name="T32" fmla="*/ 1072 w 5245"/>
                <a:gd name="T33" fmla="*/ 0 h 4505"/>
                <a:gd name="T34" fmla="*/ 0 w 5245"/>
                <a:gd name="T35" fmla="*/ 1077 h 4505"/>
                <a:gd name="T36" fmla="*/ 667 w 5245"/>
                <a:gd name="T37" fmla="*/ 2071 h 4505"/>
                <a:gd name="T38" fmla="*/ 4158 w 5245"/>
                <a:gd name="T39" fmla="*/ 3304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45" h="4505">
                  <a:moveTo>
                    <a:pt x="4158" y="3304"/>
                  </a:moveTo>
                  <a:lnTo>
                    <a:pt x="4158" y="3304"/>
                  </a:lnTo>
                  <a:cubicBezTo>
                    <a:pt x="4201" y="3323"/>
                    <a:pt x="4240" y="3366"/>
                    <a:pt x="4240" y="3421"/>
                  </a:cubicBezTo>
                  <a:cubicBezTo>
                    <a:pt x="4240" y="3487"/>
                    <a:pt x="4181" y="3546"/>
                    <a:pt x="4115" y="3546"/>
                  </a:cubicBezTo>
                  <a:lnTo>
                    <a:pt x="671" y="3546"/>
                  </a:lnTo>
                  <a:cubicBezTo>
                    <a:pt x="402" y="3546"/>
                    <a:pt x="187" y="3760"/>
                    <a:pt x="187" y="4025"/>
                  </a:cubicBezTo>
                  <a:cubicBezTo>
                    <a:pt x="187" y="4291"/>
                    <a:pt x="406" y="4505"/>
                    <a:pt x="671" y="4505"/>
                  </a:cubicBezTo>
                  <a:lnTo>
                    <a:pt x="4169" y="4505"/>
                  </a:lnTo>
                  <a:cubicBezTo>
                    <a:pt x="4758" y="4505"/>
                    <a:pt x="5245" y="4021"/>
                    <a:pt x="5245" y="3428"/>
                  </a:cubicBezTo>
                  <a:cubicBezTo>
                    <a:pt x="5245" y="2964"/>
                    <a:pt x="4949" y="2570"/>
                    <a:pt x="4540" y="2418"/>
                  </a:cubicBezTo>
                  <a:lnTo>
                    <a:pt x="1092" y="1201"/>
                  </a:lnTo>
                  <a:cubicBezTo>
                    <a:pt x="1045" y="1186"/>
                    <a:pt x="1010" y="1139"/>
                    <a:pt x="1010" y="1084"/>
                  </a:cubicBezTo>
                  <a:cubicBezTo>
                    <a:pt x="1010" y="1018"/>
                    <a:pt x="1061" y="960"/>
                    <a:pt x="1131" y="960"/>
                  </a:cubicBezTo>
                  <a:lnTo>
                    <a:pt x="4575" y="960"/>
                  </a:lnTo>
                  <a:cubicBezTo>
                    <a:pt x="4840" y="960"/>
                    <a:pt x="5054" y="745"/>
                    <a:pt x="5054" y="480"/>
                  </a:cubicBezTo>
                  <a:cubicBezTo>
                    <a:pt x="5054" y="215"/>
                    <a:pt x="4836" y="0"/>
                    <a:pt x="4575" y="0"/>
                  </a:cubicBezTo>
                  <a:lnTo>
                    <a:pt x="1072" y="0"/>
                  </a:lnTo>
                  <a:cubicBezTo>
                    <a:pt x="476" y="0"/>
                    <a:pt x="0" y="484"/>
                    <a:pt x="0" y="1077"/>
                  </a:cubicBezTo>
                  <a:cubicBezTo>
                    <a:pt x="0" y="1525"/>
                    <a:pt x="277" y="1911"/>
                    <a:pt x="667" y="2071"/>
                  </a:cubicBezTo>
                  <a:lnTo>
                    <a:pt x="4158" y="3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black">
            <a:xfrm>
              <a:off x="5196043" y="2446391"/>
              <a:ext cx="1321741" cy="1108419"/>
            </a:xfrm>
            <a:custGeom>
              <a:avLst/>
              <a:gdLst>
                <a:gd name="T0" fmla="*/ 2196 w 5433"/>
                <a:gd name="T1" fmla="*/ 4025 h 4540"/>
                <a:gd name="T2" fmla="*/ 2196 w 5433"/>
                <a:gd name="T3" fmla="*/ 4025 h 4540"/>
                <a:gd name="T4" fmla="*/ 2710 w 5433"/>
                <a:gd name="T5" fmla="*/ 4540 h 4540"/>
                <a:gd name="T6" fmla="*/ 3225 w 5433"/>
                <a:gd name="T7" fmla="*/ 4025 h 4540"/>
                <a:gd name="T8" fmla="*/ 3225 w 5433"/>
                <a:gd name="T9" fmla="*/ 1061 h 4540"/>
                <a:gd name="T10" fmla="*/ 3327 w 5433"/>
                <a:gd name="T11" fmla="*/ 960 h 4540"/>
                <a:gd name="T12" fmla="*/ 4953 w 5433"/>
                <a:gd name="T13" fmla="*/ 960 h 4540"/>
                <a:gd name="T14" fmla="*/ 5433 w 5433"/>
                <a:gd name="T15" fmla="*/ 480 h 4540"/>
                <a:gd name="T16" fmla="*/ 4953 w 5433"/>
                <a:gd name="T17" fmla="*/ 0 h 4540"/>
                <a:gd name="T18" fmla="*/ 479 w 5433"/>
                <a:gd name="T19" fmla="*/ 0 h 4540"/>
                <a:gd name="T20" fmla="*/ 0 w 5433"/>
                <a:gd name="T21" fmla="*/ 480 h 4540"/>
                <a:gd name="T22" fmla="*/ 479 w 5433"/>
                <a:gd name="T23" fmla="*/ 960 h 4540"/>
                <a:gd name="T24" fmla="*/ 2098 w 5433"/>
                <a:gd name="T25" fmla="*/ 960 h 4540"/>
                <a:gd name="T26" fmla="*/ 2196 w 5433"/>
                <a:gd name="T27" fmla="*/ 1061 h 4540"/>
                <a:gd name="T28" fmla="*/ 2196 w 5433"/>
                <a:gd name="T29" fmla="*/ 4025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33" h="4540">
                  <a:moveTo>
                    <a:pt x="2196" y="4025"/>
                  </a:moveTo>
                  <a:lnTo>
                    <a:pt x="2196" y="4025"/>
                  </a:lnTo>
                  <a:cubicBezTo>
                    <a:pt x="2192" y="4310"/>
                    <a:pt x="2426" y="4540"/>
                    <a:pt x="2710" y="4540"/>
                  </a:cubicBezTo>
                  <a:cubicBezTo>
                    <a:pt x="2995" y="4540"/>
                    <a:pt x="3225" y="4310"/>
                    <a:pt x="3225" y="4025"/>
                  </a:cubicBezTo>
                  <a:lnTo>
                    <a:pt x="3225" y="1061"/>
                  </a:lnTo>
                  <a:cubicBezTo>
                    <a:pt x="3225" y="1003"/>
                    <a:pt x="3272" y="960"/>
                    <a:pt x="3327" y="960"/>
                  </a:cubicBezTo>
                  <a:lnTo>
                    <a:pt x="4953" y="960"/>
                  </a:lnTo>
                  <a:cubicBezTo>
                    <a:pt x="5218" y="960"/>
                    <a:pt x="5433" y="745"/>
                    <a:pt x="5433" y="480"/>
                  </a:cubicBezTo>
                  <a:cubicBezTo>
                    <a:pt x="5433" y="215"/>
                    <a:pt x="5214" y="0"/>
                    <a:pt x="4953" y="0"/>
                  </a:cubicBezTo>
                  <a:lnTo>
                    <a:pt x="479" y="0"/>
                  </a:lnTo>
                  <a:cubicBezTo>
                    <a:pt x="214" y="0"/>
                    <a:pt x="0" y="215"/>
                    <a:pt x="0" y="480"/>
                  </a:cubicBezTo>
                  <a:cubicBezTo>
                    <a:pt x="0" y="745"/>
                    <a:pt x="214" y="960"/>
                    <a:pt x="479" y="960"/>
                  </a:cubicBezTo>
                  <a:lnTo>
                    <a:pt x="2098" y="960"/>
                  </a:lnTo>
                  <a:cubicBezTo>
                    <a:pt x="2153" y="960"/>
                    <a:pt x="2196" y="1003"/>
                    <a:pt x="2196" y="1061"/>
                  </a:cubicBezTo>
                  <a:lnTo>
                    <a:pt x="2196" y="40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black">
            <a:xfrm>
              <a:off x="2550417" y="2446391"/>
              <a:ext cx="1250991" cy="1099843"/>
            </a:xfrm>
            <a:custGeom>
              <a:avLst/>
              <a:gdLst>
                <a:gd name="T0" fmla="*/ 1029 w 5144"/>
                <a:gd name="T1" fmla="*/ 2797 h 4505"/>
                <a:gd name="T2" fmla="*/ 1029 w 5144"/>
                <a:gd name="T3" fmla="*/ 2797 h 4505"/>
                <a:gd name="T4" fmla="*/ 1127 w 5144"/>
                <a:gd name="T5" fmla="*/ 2699 h 4505"/>
                <a:gd name="T6" fmla="*/ 3810 w 5144"/>
                <a:gd name="T7" fmla="*/ 2699 h 4505"/>
                <a:gd name="T8" fmla="*/ 4255 w 5144"/>
                <a:gd name="T9" fmla="*/ 2251 h 4505"/>
                <a:gd name="T10" fmla="*/ 3810 w 5144"/>
                <a:gd name="T11" fmla="*/ 1806 h 4505"/>
                <a:gd name="T12" fmla="*/ 1127 w 5144"/>
                <a:gd name="T13" fmla="*/ 1806 h 4505"/>
                <a:gd name="T14" fmla="*/ 1029 w 5144"/>
                <a:gd name="T15" fmla="*/ 1709 h 4505"/>
                <a:gd name="T16" fmla="*/ 1029 w 5144"/>
                <a:gd name="T17" fmla="*/ 1443 h 4505"/>
                <a:gd name="T18" fmla="*/ 1509 w 5144"/>
                <a:gd name="T19" fmla="*/ 960 h 4505"/>
                <a:gd name="T20" fmla="*/ 4664 w 5144"/>
                <a:gd name="T21" fmla="*/ 960 h 4505"/>
                <a:gd name="T22" fmla="*/ 5144 w 5144"/>
                <a:gd name="T23" fmla="*/ 480 h 4505"/>
                <a:gd name="T24" fmla="*/ 4664 w 5144"/>
                <a:gd name="T25" fmla="*/ 0 h 4505"/>
                <a:gd name="T26" fmla="*/ 1318 w 5144"/>
                <a:gd name="T27" fmla="*/ 0 h 4505"/>
                <a:gd name="T28" fmla="*/ 0 w 5144"/>
                <a:gd name="T29" fmla="*/ 1318 h 4505"/>
                <a:gd name="T30" fmla="*/ 0 w 5144"/>
                <a:gd name="T31" fmla="*/ 3187 h 4505"/>
                <a:gd name="T32" fmla="*/ 1318 w 5144"/>
                <a:gd name="T33" fmla="*/ 4505 h 4505"/>
                <a:gd name="T34" fmla="*/ 4664 w 5144"/>
                <a:gd name="T35" fmla="*/ 4505 h 4505"/>
                <a:gd name="T36" fmla="*/ 5144 w 5144"/>
                <a:gd name="T37" fmla="*/ 4025 h 4505"/>
                <a:gd name="T38" fmla="*/ 4664 w 5144"/>
                <a:gd name="T39" fmla="*/ 3546 h 4505"/>
                <a:gd name="T40" fmla="*/ 1509 w 5144"/>
                <a:gd name="T41" fmla="*/ 3546 h 4505"/>
                <a:gd name="T42" fmla="*/ 1029 w 5144"/>
                <a:gd name="T43" fmla="*/ 3062 h 4505"/>
                <a:gd name="T44" fmla="*/ 1029 w 5144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4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27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2" y="1806"/>
                    <a:pt x="3810" y="1806"/>
                  </a:cubicBezTo>
                  <a:lnTo>
                    <a:pt x="1127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8"/>
                    <a:pt x="1244" y="960"/>
                    <a:pt x="1509" y="960"/>
                  </a:cubicBezTo>
                  <a:lnTo>
                    <a:pt x="4664" y="960"/>
                  </a:lnTo>
                  <a:cubicBezTo>
                    <a:pt x="4929" y="960"/>
                    <a:pt x="5144" y="745"/>
                    <a:pt x="5144" y="480"/>
                  </a:cubicBezTo>
                  <a:cubicBezTo>
                    <a:pt x="5144" y="215"/>
                    <a:pt x="4929" y="0"/>
                    <a:pt x="4664" y="0"/>
                  </a:cubicBezTo>
                  <a:lnTo>
                    <a:pt x="1318" y="0"/>
                  </a:lnTo>
                  <a:cubicBezTo>
                    <a:pt x="588" y="4"/>
                    <a:pt x="0" y="593"/>
                    <a:pt x="0" y="1318"/>
                  </a:cubicBezTo>
                  <a:lnTo>
                    <a:pt x="0" y="3187"/>
                  </a:lnTo>
                  <a:cubicBezTo>
                    <a:pt x="0" y="3916"/>
                    <a:pt x="588" y="4501"/>
                    <a:pt x="1318" y="4505"/>
                  </a:cubicBezTo>
                  <a:lnTo>
                    <a:pt x="4664" y="4505"/>
                  </a:lnTo>
                  <a:cubicBezTo>
                    <a:pt x="4929" y="4505"/>
                    <a:pt x="5144" y="4291"/>
                    <a:pt x="5144" y="4025"/>
                  </a:cubicBezTo>
                  <a:cubicBezTo>
                    <a:pt x="5144" y="3760"/>
                    <a:pt x="4929" y="3546"/>
                    <a:pt x="4664" y="3546"/>
                  </a:cubicBezTo>
                  <a:lnTo>
                    <a:pt x="1509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black">
            <a:xfrm>
              <a:off x="1170790" y="2446391"/>
              <a:ext cx="1253135" cy="1108419"/>
            </a:xfrm>
            <a:custGeom>
              <a:avLst/>
              <a:gdLst>
                <a:gd name="T0" fmla="*/ 98 w 5152"/>
                <a:gd name="T1" fmla="*/ 0 h 4540"/>
                <a:gd name="T2" fmla="*/ 3834 w 5152"/>
                <a:gd name="T3" fmla="*/ 0 h 4540"/>
                <a:gd name="T4" fmla="*/ 5152 w 5152"/>
                <a:gd name="T5" fmla="*/ 1318 h 4540"/>
                <a:gd name="T6" fmla="*/ 5152 w 5152"/>
                <a:gd name="T7" fmla="*/ 4025 h 4540"/>
                <a:gd name="T8" fmla="*/ 4637 w 5152"/>
                <a:gd name="T9" fmla="*/ 4540 h 4540"/>
                <a:gd name="T10" fmla="*/ 4122 w 5152"/>
                <a:gd name="T11" fmla="*/ 4025 h 4540"/>
                <a:gd name="T12" fmla="*/ 4122 w 5152"/>
                <a:gd name="T13" fmla="*/ 1443 h 4540"/>
                <a:gd name="T14" fmla="*/ 3643 w 5152"/>
                <a:gd name="T15" fmla="*/ 960 h 4540"/>
                <a:gd name="T16" fmla="*/ 1131 w 5152"/>
                <a:gd name="T17" fmla="*/ 960 h 4540"/>
                <a:gd name="T18" fmla="*/ 1034 w 5152"/>
                <a:gd name="T19" fmla="*/ 1061 h 4540"/>
                <a:gd name="T20" fmla="*/ 1034 w 5152"/>
                <a:gd name="T21" fmla="*/ 4025 h 4540"/>
                <a:gd name="T22" fmla="*/ 515 w 5152"/>
                <a:gd name="T23" fmla="*/ 4540 h 4540"/>
                <a:gd name="T24" fmla="*/ 0 w 5152"/>
                <a:gd name="T25" fmla="*/ 4025 h 4540"/>
                <a:gd name="T26" fmla="*/ 0 w 5152"/>
                <a:gd name="T27" fmla="*/ 98 h 4540"/>
                <a:gd name="T28" fmla="*/ 98 w 5152"/>
                <a:gd name="T29" fmla="*/ 0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2" h="4540">
                  <a:moveTo>
                    <a:pt x="98" y="0"/>
                  </a:moveTo>
                  <a:lnTo>
                    <a:pt x="3834" y="0"/>
                  </a:lnTo>
                  <a:cubicBezTo>
                    <a:pt x="4563" y="0"/>
                    <a:pt x="5152" y="593"/>
                    <a:pt x="5152" y="1318"/>
                  </a:cubicBezTo>
                  <a:lnTo>
                    <a:pt x="5152" y="4025"/>
                  </a:lnTo>
                  <a:cubicBezTo>
                    <a:pt x="5152" y="4310"/>
                    <a:pt x="4922" y="4540"/>
                    <a:pt x="4637" y="4540"/>
                  </a:cubicBezTo>
                  <a:cubicBezTo>
                    <a:pt x="4353" y="4540"/>
                    <a:pt x="4119" y="4310"/>
                    <a:pt x="4122" y="4025"/>
                  </a:cubicBezTo>
                  <a:lnTo>
                    <a:pt x="4122" y="1443"/>
                  </a:lnTo>
                  <a:cubicBezTo>
                    <a:pt x="4119" y="1178"/>
                    <a:pt x="3908" y="960"/>
                    <a:pt x="3643" y="960"/>
                  </a:cubicBezTo>
                  <a:lnTo>
                    <a:pt x="1131" y="960"/>
                  </a:lnTo>
                  <a:cubicBezTo>
                    <a:pt x="1077" y="960"/>
                    <a:pt x="1030" y="1006"/>
                    <a:pt x="1034" y="1061"/>
                  </a:cubicBezTo>
                  <a:lnTo>
                    <a:pt x="1034" y="4025"/>
                  </a:lnTo>
                  <a:cubicBezTo>
                    <a:pt x="1034" y="4310"/>
                    <a:pt x="800" y="4540"/>
                    <a:pt x="515" y="4540"/>
                  </a:cubicBezTo>
                  <a:cubicBezTo>
                    <a:pt x="230" y="4540"/>
                    <a:pt x="0" y="4310"/>
                    <a:pt x="0" y="4025"/>
                  </a:cubicBezTo>
                  <a:lnTo>
                    <a:pt x="0" y="98"/>
                  </a:lnTo>
                  <a:cubicBezTo>
                    <a:pt x="0" y="43"/>
                    <a:pt x="47" y="0"/>
                    <a:pt x="9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1706703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/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/>
          <p:cNvGrpSpPr/>
          <p:nvPr userDrawn="1"/>
        </p:nvGrpSpPr>
        <p:grpSpPr>
          <a:xfrm>
            <a:off x="135695" y="2338"/>
            <a:ext cx="9005689" cy="5149755"/>
            <a:chOff x="128438" y="9595"/>
            <a:chExt cx="9005689" cy="5149755"/>
          </a:xfrm>
        </p:grpSpPr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4821926" y="315900"/>
              <a:ext cx="4312201" cy="4503643"/>
            </a:xfrm>
            <a:custGeom>
              <a:avLst/>
              <a:gdLst>
                <a:gd name="T0" fmla="*/ 0 w 11899"/>
                <a:gd name="T1" fmla="*/ 6212 h 12425"/>
                <a:gd name="T2" fmla="*/ 6214 w 11899"/>
                <a:gd name="T3" fmla="*/ 0 h 12425"/>
                <a:gd name="T4" fmla="*/ 11899 w 11899"/>
                <a:gd name="T5" fmla="*/ 0 h 12425"/>
                <a:gd name="T6" fmla="*/ 11899 w 11899"/>
                <a:gd name="T7" fmla="*/ 8727 h 12425"/>
                <a:gd name="T8" fmla="*/ 6214 w 11899"/>
                <a:gd name="T9" fmla="*/ 12425 h 12425"/>
                <a:gd name="T10" fmla="*/ 0 w 11899"/>
                <a:gd name="T11" fmla="*/ 6212 h 12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99" h="12425">
                  <a:moveTo>
                    <a:pt x="0" y="6212"/>
                  </a:moveTo>
                  <a:cubicBezTo>
                    <a:pt x="0" y="2782"/>
                    <a:pt x="2783" y="0"/>
                    <a:pt x="6214" y="0"/>
                  </a:cubicBezTo>
                  <a:lnTo>
                    <a:pt x="11899" y="0"/>
                  </a:lnTo>
                  <a:moveTo>
                    <a:pt x="11899" y="8727"/>
                  </a:moveTo>
                  <a:cubicBezTo>
                    <a:pt x="10933" y="10905"/>
                    <a:pt x="8752" y="12425"/>
                    <a:pt x="6214" y="12425"/>
                  </a:cubicBezTo>
                  <a:cubicBezTo>
                    <a:pt x="2783" y="12425"/>
                    <a:pt x="0" y="9644"/>
                    <a:pt x="0" y="6212"/>
                  </a:cubicBezTo>
                </a:path>
              </a:pathLst>
            </a:custGeom>
            <a:noFill/>
            <a:ln w="12700" cap="flat">
              <a:solidFill>
                <a:srgbClr val="66CD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28438" y="2870038"/>
              <a:ext cx="737047" cy="2289312"/>
            </a:xfrm>
            <a:custGeom>
              <a:avLst/>
              <a:gdLst>
                <a:gd name="T0" fmla="*/ 2037 w 2037"/>
                <a:gd name="T1" fmla="*/ 6314 h 6314"/>
                <a:gd name="T2" fmla="*/ 0 w 2037"/>
                <a:gd name="T3" fmla="*/ 0 h 6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037" h="6314">
                  <a:moveTo>
                    <a:pt x="2037" y="6314"/>
                  </a:moveTo>
                  <a:cubicBezTo>
                    <a:pt x="756" y="4538"/>
                    <a:pt x="0" y="2358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66CD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218125" y="9595"/>
              <a:ext cx="737047" cy="5149755"/>
            </a:xfrm>
            <a:custGeom>
              <a:avLst/>
              <a:gdLst>
                <a:gd name="T0" fmla="*/ 2037 w 2037"/>
                <a:gd name="T1" fmla="*/ 0 h 14206"/>
                <a:gd name="T2" fmla="*/ 2037 w 2037"/>
                <a:gd name="T3" fmla="*/ 7892 h 14206"/>
                <a:gd name="T4" fmla="*/ 0 w 2037"/>
                <a:gd name="T5" fmla="*/ 14206 h 14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37" h="14206">
                  <a:moveTo>
                    <a:pt x="2037" y="0"/>
                  </a:moveTo>
                  <a:lnTo>
                    <a:pt x="2037" y="7892"/>
                  </a:lnTo>
                  <a:cubicBezTo>
                    <a:pt x="2037" y="10250"/>
                    <a:pt x="1282" y="12430"/>
                    <a:pt x="0" y="14206"/>
                  </a:cubicBezTo>
                </a:path>
              </a:pathLst>
            </a:custGeom>
            <a:noFill/>
            <a:ln w="12700" cap="flat">
              <a:solidFill>
                <a:srgbClr val="66CD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8438" y="9595"/>
              <a:ext cx="1241174" cy="2860443"/>
            </a:xfrm>
            <a:custGeom>
              <a:avLst/>
              <a:gdLst>
                <a:gd name="T0" fmla="*/ 0 w 3429"/>
                <a:gd name="T1" fmla="*/ 7892 h 7892"/>
                <a:gd name="T2" fmla="*/ 3429 w 3429"/>
                <a:gd name="T3" fmla="*/ 0 h 7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29" h="7892">
                  <a:moveTo>
                    <a:pt x="0" y="7892"/>
                  </a:moveTo>
                  <a:cubicBezTo>
                    <a:pt x="0" y="4778"/>
                    <a:pt x="1319" y="1971"/>
                    <a:pt x="3429" y="0"/>
                  </a:cubicBezTo>
                </a:path>
              </a:pathLst>
            </a:custGeom>
            <a:noFill/>
            <a:ln w="12700" cap="flat">
              <a:solidFill>
                <a:srgbClr val="66CD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727200" y="1263600"/>
            <a:ext cx="3916800" cy="1594800"/>
          </a:xfrm>
        </p:spPr>
        <p:txBody>
          <a:bodyPr anchor="b">
            <a:normAutofit/>
          </a:bodyPr>
          <a:lstStyle>
            <a:lvl1pPr algn="l">
              <a:defRPr sz="2800">
                <a:solidFill>
                  <a:srgbClr val="001177"/>
                </a:solidFill>
              </a:defRPr>
            </a:lvl1pPr>
          </a:lstStyle>
          <a:p>
            <a:r>
              <a:rPr lang="fi-FI"/>
              <a:t>Thank you</a:t>
            </a:r>
            <a:endParaRPr lang="fi-FI" dirty="0"/>
          </a:p>
        </p:txBody>
      </p:sp>
      <p:sp>
        <p:nvSpPr>
          <p:cNvPr id="8" name="Tekstin paikkamerkki 7"/>
          <p:cNvSpPr>
            <a:spLocks noGrp="1"/>
          </p:cNvSpPr>
          <p:nvPr>
            <p:ph type="body" sz="quarter" idx="13" hasCustomPrompt="1"/>
          </p:nvPr>
        </p:nvSpPr>
        <p:spPr>
          <a:xfrm>
            <a:off x="727075" y="3009600"/>
            <a:ext cx="3916800" cy="518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000"/>
            </a:lvl1pPr>
          </a:lstStyle>
          <a:p>
            <a:pPr lvl="0"/>
            <a:r>
              <a:rPr lang="en-US" dirty="0"/>
              <a:t>N. N., title or business unit, example@neste.com</a:t>
            </a:r>
          </a:p>
        </p:txBody>
      </p:sp>
    </p:spTree>
    <p:extLst>
      <p:ext uri="{BB962C8B-B14F-4D97-AF65-F5344CB8AC3E}">
        <p14:creationId xmlns:p14="http://schemas.microsoft.com/office/powerpoint/2010/main" val="526971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End Slide with Backgroun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Ryhmä 12"/>
          <p:cNvGrpSpPr/>
          <p:nvPr userDrawn="1"/>
        </p:nvGrpSpPr>
        <p:grpSpPr>
          <a:xfrm>
            <a:off x="135695" y="2338"/>
            <a:ext cx="9005689" cy="5149755"/>
            <a:chOff x="128438" y="9595"/>
            <a:chExt cx="9005689" cy="5149755"/>
          </a:xfrm>
        </p:grpSpPr>
        <p:sp>
          <p:nvSpPr>
            <p:cNvPr id="14" name="Freeform 5"/>
            <p:cNvSpPr>
              <a:spLocks noEditPoints="1"/>
            </p:cNvSpPr>
            <p:nvPr userDrawn="1"/>
          </p:nvSpPr>
          <p:spPr bwMode="auto">
            <a:xfrm>
              <a:off x="4821926" y="315900"/>
              <a:ext cx="4312201" cy="4503643"/>
            </a:xfrm>
            <a:custGeom>
              <a:avLst/>
              <a:gdLst>
                <a:gd name="T0" fmla="*/ 0 w 11899"/>
                <a:gd name="T1" fmla="*/ 6212 h 12425"/>
                <a:gd name="T2" fmla="*/ 6214 w 11899"/>
                <a:gd name="T3" fmla="*/ 0 h 12425"/>
                <a:gd name="T4" fmla="*/ 11899 w 11899"/>
                <a:gd name="T5" fmla="*/ 0 h 12425"/>
                <a:gd name="T6" fmla="*/ 11899 w 11899"/>
                <a:gd name="T7" fmla="*/ 8727 h 12425"/>
                <a:gd name="T8" fmla="*/ 6214 w 11899"/>
                <a:gd name="T9" fmla="*/ 12425 h 12425"/>
                <a:gd name="T10" fmla="*/ 0 w 11899"/>
                <a:gd name="T11" fmla="*/ 6212 h 12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99" h="12425">
                  <a:moveTo>
                    <a:pt x="0" y="6212"/>
                  </a:moveTo>
                  <a:cubicBezTo>
                    <a:pt x="0" y="2782"/>
                    <a:pt x="2783" y="0"/>
                    <a:pt x="6214" y="0"/>
                  </a:cubicBezTo>
                  <a:lnTo>
                    <a:pt x="11899" y="0"/>
                  </a:lnTo>
                  <a:moveTo>
                    <a:pt x="11899" y="8727"/>
                  </a:moveTo>
                  <a:cubicBezTo>
                    <a:pt x="10933" y="10905"/>
                    <a:pt x="8752" y="12425"/>
                    <a:pt x="6214" y="12425"/>
                  </a:cubicBezTo>
                  <a:cubicBezTo>
                    <a:pt x="2783" y="12425"/>
                    <a:pt x="0" y="9644"/>
                    <a:pt x="0" y="6212"/>
                  </a:cubicBezTo>
                </a:path>
              </a:pathLst>
            </a:custGeom>
            <a:noFill/>
            <a:ln w="1270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128438" y="2870038"/>
              <a:ext cx="737047" cy="2289312"/>
            </a:xfrm>
            <a:custGeom>
              <a:avLst/>
              <a:gdLst>
                <a:gd name="T0" fmla="*/ 2037 w 2037"/>
                <a:gd name="T1" fmla="*/ 6314 h 6314"/>
                <a:gd name="T2" fmla="*/ 0 w 2037"/>
                <a:gd name="T3" fmla="*/ 0 h 6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037" h="6314">
                  <a:moveTo>
                    <a:pt x="2037" y="6314"/>
                  </a:moveTo>
                  <a:cubicBezTo>
                    <a:pt x="756" y="4538"/>
                    <a:pt x="0" y="2358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/>
            <p:cNvSpPr>
              <a:spLocks/>
            </p:cNvSpPr>
            <p:nvPr userDrawn="1"/>
          </p:nvSpPr>
          <p:spPr bwMode="auto">
            <a:xfrm>
              <a:off x="7218125" y="9595"/>
              <a:ext cx="737047" cy="5149755"/>
            </a:xfrm>
            <a:custGeom>
              <a:avLst/>
              <a:gdLst>
                <a:gd name="T0" fmla="*/ 2037 w 2037"/>
                <a:gd name="T1" fmla="*/ 0 h 14206"/>
                <a:gd name="T2" fmla="*/ 2037 w 2037"/>
                <a:gd name="T3" fmla="*/ 7892 h 14206"/>
                <a:gd name="T4" fmla="*/ 0 w 2037"/>
                <a:gd name="T5" fmla="*/ 14206 h 14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37" h="14206">
                  <a:moveTo>
                    <a:pt x="2037" y="0"/>
                  </a:moveTo>
                  <a:lnTo>
                    <a:pt x="2037" y="7892"/>
                  </a:lnTo>
                  <a:cubicBezTo>
                    <a:pt x="2037" y="10250"/>
                    <a:pt x="1282" y="12430"/>
                    <a:pt x="0" y="14206"/>
                  </a:cubicBezTo>
                </a:path>
              </a:pathLst>
            </a:custGeom>
            <a:noFill/>
            <a:ln w="1270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8438" y="9595"/>
              <a:ext cx="1241174" cy="2860443"/>
            </a:xfrm>
            <a:custGeom>
              <a:avLst/>
              <a:gdLst>
                <a:gd name="T0" fmla="*/ 0 w 3429"/>
                <a:gd name="T1" fmla="*/ 7892 h 7892"/>
                <a:gd name="T2" fmla="*/ 3429 w 3429"/>
                <a:gd name="T3" fmla="*/ 0 h 7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29" h="7892">
                  <a:moveTo>
                    <a:pt x="0" y="7892"/>
                  </a:moveTo>
                  <a:cubicBezTo>
                    <a:pt x="0" y="4778"/>
                    <a:pt x="1319" y="1971"/>
                    <a:pt x="3429" y="0"/>
                  </a:cubicBezTo>
                </a:path>
              </a:pathLst>
            </a:custGeom>
            <a:noFill/>
            <a:ln w="1270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727200" y="1263600"/>
            <a:ext cx="3916800" cy="1594800"/>
          </a:xfr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fi-FI"/>
              <a:t>Thank you</a:t>
            </a:r>
            <a:endParaRPr lang="fi-FI" dirty="0"/>
          </a:p>
        </p:txBody>
      </p:sp>
      <p:grpSp>
        <p:nvGrpSpPr>
          <p:cNvPr id="18" name="Ryhmä 17"/>
          <p:cNvGrpSpPr/>
          <p:nvPr userDrawn="1"/>
        </p:nvGrpSpPr>
        <p:grpSpPr bwMode="black">
          <a:xfrm>
            <a:off x="8034273" y="4831556"/>
            <a:ext cx="869375" cy="145200"/>
            <a:chOff x="1170790" y="2446391"/>
            <a:chExt cx="6636576" cy="1108419"/>
          </a:xfrm>
          <a:solidFill>
            <a:srgbClr val="FFFFFF"/>
          </a:solidFill>
        </p:grpSpPr>
        <p:sp>
          <p:nvSpPr>
            <p:cNvPr id="19" name="Freeform 5"/>
            <p:cNvSpPr>
              <a:spLocks/>
            </p:cNvSpPr>
            <p:nvPr userDrawn="1"/>
          </p:nvSpPr>
          <p:spPr bwMode="black">
            <a:xfrm>
              <a:off x="6555303" y="2446391"/>
              <a:ext cx="1252063" cy="1099843"/>
            </a:xfrm>
            <a:custGeom>
              <a:avLst/>
              <a:gdLst>
                <a:gd name="T0" fmla="*/ 1029 w 5148"/>
                <a:gd name="T1" fmla="*/ 2797 h 4505"/>
                <a:gd name="T2" fmla="*/ 1029 w 5148"/>
                <a:gd name="T3" fmla="*/ 2797 h 4505"/>
                <a:gd name="T4" fmla="*/ 1131 w 5148"/>
                <a:gd name="T5" fmla="*/ 2699 h 4505"/>
                <a:gd name="T6" fmla="*/ 3810 w 5148"/>
                <a:gd name="T7" fmla="*/ 2699 h 4505"/>
                <a:gd name="T8" fmla="*/ 4255 w 5148"/>
                <a:gd name="T9" fmla="*/ 2251 h 4505"/>
                <a:gd name="T10" fmla="*/ 3810 w 5148"/>
                <a:gd name="T11" fmla="*/ 1806 h 4505"/>
                <a:gd name="T12" fmla="*/ 1131 w 5148"/>
                <a:gd name="T13" fmla="*/ 1806 h 4505"/>
                <a:gd name="T14" fmla="*/ 1029 w 5148"/>
                <a:gd name="T15" fmla="*/ 1709 h 4505"/>
                <a:gd name="T16" fmla="*/ 1029 w 5148"/>
                <a:gd name="T17" fmla="*/ 1443 h 4505"/>
                <a:gd name="T18" fmla="*/ 1513 w 5148"/>
                <a:gd name="T19" fmla="*/ 960 h 4505"/>
                <a:gd name="T20" fmla="*/ 4664 w 5148"/>
                <a:gd name="T21" fmla="*/ 960 h 4505"/>
                <a:gd name="T22" fmla="*/ 5148 w 5148"/>
                <a:gd name="T23" fmla="*/ 480 h 4505"/>
                <a:gd name="T24" fmla="*/ 4664 w 5148"/>
                <a:gd name="T25" fmla="*/ 0 h 4505"/>
                <a:gd name="T26" fmla="*/ 1322 w 5148"/>
                <a:gd name="T27" fmla="*/ 0 h 4505"/>
                <a:gd name="T28" fmla="*/ 0 w 5148"/>
                <a:gd name="T29" fmla="*/ 1322 h 4505"/>
                <a:gd name="T30" fmla="*/ 0 w 5148"/>
                <a:gd name="T31" fmla="*/ 3187 h 4505"/>
                <a:gd name="T32" fmla="*/ 1322 w 5148"/>
                <a:gd name="T33" fmla="*/ 4505 h 4505"/>
                <a:gd name="T34" fmla="*/ 4664 w 5148"/>
                <a:gd name="T35" fmla="*/ 4505 h 4505"/>
                <a:gd name="T36" fmla="*/ 5148 w 5148"/>
                <a:gd name="T37" fmla="*/ 4025 h 4505"/>
                <a:gd name="T38" fmla="*/ 4664 w 5148"/>
                <a:gd name="T39" fmla="*/ 3546 h 4505"/>
                <a:gd name="T40" fmla="*/ 1513 w 5148"/>
                <a:gd name="T41" fmla="*/ 3546 h 4505"/>
                <a:gd name="T42" fmla="*/ 1029 w 5148"/>
                <a:gd name="T43" fmla="*/ 3062 h 4505"/>
                <a:gd name="T44" fmla="*/ 1029 w 5148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8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31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6" y="1806"/>
                    <a:pt x="3810" y="1806"/>
                  </a:cubicBezTo>
                  <a:lnTo>
                    <a:pt x="1131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4"/>
                    <a:pt x="1244" y="960"/>
                    <a:pt x="1513" y="960"/>
                  </a:cubicBezTo>
                  <a:lnTo>
                    <a:pt x="4664" y="960"/>
                  </a:lnTo>
                  <a:cubicBezTo>
                    <a:pt x="4929" y="960"/>
                    <a:pt x="5148" y="745"/>
                    <a:pt x="5148" y="480"/>
                  </a:cubicBezTo>
                  <a:cubicBezTo>
                    <a:pt x="5148" y="215"/>
                    <a:pt x="4929" y="0"/>
                    <a:pt x="4664" y="0"/>
                  </a:cubicBezTo>
                  <a:lnTo>
                    <a:pt x="1322" y="0"/>
                  </a:lnTo>
                  <a:cubicBezTo>
                    <a:pt x="593" y="4"/>
                    <a:pt x="0" y="593"/>
                    <a:pt x="0" y="1322"/>
                  </a:cubicBezTo>
                  <a:lnTo>
                    <a:pt x="0" y="3187"/>
                  </a:lnTo>
                  <a:cubicBezTo>
                    <a:pt x="0" y="3912"/>
                    <a:pt x="593" y="4501"/>
                    <a:pt x="1322" y="4505"/>
                  </a:cubicBezTo>
                  <a:lnTo>
                    <a:pt x="4664" y="4505"/>
                  </a:lnTo>
                  <a:cubicBezTo>
                    <a:pt x="4929" y="4505"/>
                    <a:pt x="5148" y="4291"/>
                    <a:pt x="5148" y="4025"/>
                  </a:cubicBezTo>
                  <a:cubicBezTo>
                    <a:pt x="5148" y="3760"/>
                    <a:pt x="4929" y="3546"/>
                    <a:pt x="4664" y="3546"/>
                  </a:cubicBezTo>
                  <a:lnTo>
                    <a:pt x="1513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6"/>
            <p:cNvSpPr>
              <a:spLocks/>
            </p:cNvSpPr>
            <p:nvPr userDrawn="1"/>
          </p:nvSpPr>
          <p:spPr bwMode="black">
            <a:xfrm>
              <a:off x="3875374" y="2446391"/>
              <a:ext cx="1275646" cy="1099843"/>
            </a:xfrm>
            <a:custGeom>
              <a:avLst/>
              <a:gdLst>
                <a:gd name="T0" fmla="*/ 4158 w 5245"/>
                <a:gd name="T1" fmla="*/ 3304 h 4505"/>
                <a:gd name="T2" fmla="*/ 4158 w 5245"/>
                <a:gd name="T3" fmla="*/ 3304 h 4505"/>
                <a:gd name="T4" fmla="*/ 4240 w 5245"/>
                <a:gd name="T5" fmla="*/ 3421 h 4505"/>
                <a:gd name="T6" fmla="*/ 4115 w 5245"/>
                <a:gd name="T7" fmla="*/ 3546 h 4505"/>
                <a:gd name="T8" fmla="*/ 671 w 5245"/>
                <a:gd name="T9" fmla="*/ 3546 h 4505"/>
                <a:gd name="T10" fmla="*/ 187 w 5245"/>
                <a:gd name="T11" fmla="*/ 4025 h 4505"/>
                <a:gd name="T12" fmla="*/ 671 w 5245"/>
                <a:gd name="T13" fmla="*/ 4505 h 4505"/>
                <a:gd name="T14" fmla="*/ 4169 w 5245"/>
                <a:gd name="T15" fmla="*/ 4505 h 4505"/>
                <a:gd name="T16" fmla="*/ 5245 w 5245"/>
                <a:gd name="T17" fmla="*/ 3428 h 4505"/>
                <a:gd name="T18" fmla="*/ 4540 w 5245"/>
                <a:gd name="T19" fmla="*/ 2418 h 4505"/>
                <a:gd name="T20" fmla="*/ 1092 w 5245"/>
                <a:gd name="T21" fmla="*/ 1201 h 4505"/>
                <a:gd name="T22" fmla="*/ 1010 w 5245"/>
                <a:gd name="T23" fmla="*/ 1084 h 4505"/>
                <a:gd name="T24" fmla="*/ 1131 w 5245"/>
                <a:gd name="T25" fmla="*/ 960 h 4505"/>
                <a:gd name="T26" fmla="*/ 4575 w 5245"/>
                <a:gd name="T27" fmla="*/ 960 h 4505"/>
                <a:gd name="T28" fmla="*/ 5054 w 5245"/>
                <a:gd name="T29" fmla="*/ 480 h 4505"/>
                <a:gd name="T30" fmla="*/ 4575 w 5245"/>
                <a:gd name="T31" fmla="*/ 0 h 4505"/>
                <a:gd name="T32" fmla="*/ 1072 w 5245"/>
                <a:gd name="T33" fmla="*/ 0 h 4505"/>
                <a:gd name="T34" fmla="*/ 0 w 5245"/>
                <a:gd name="T35" fmla="*/ 1077 h 4505"/>
                <a:gd name="T36" fmla="*/ 667 w 5245"/>
                <a:gd name="T37" fmla="*/ 2071 h 4505"/>
                <a:gd name="T38" fmla="*/ 4158 w 5245"/>
                <a:gd name="T39" fmla="*/ 3304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45" h="4505">
                  <a:moveTo>
                    <a:pt x="4158" y="3304"/>
                  </a:moveTo>
                  <a:lnTo>
                    <a:pt x="4158" y="3304"/>
                  </a:lnTo>
                  <a:cubicBezTo>
                    <a:pt x="4201" y="3323"/>
                    <a:pt x="4240" y="3366"/>
                    <a:pt x="4240" y="3421"/>
                  </a:cubicBezTo>
                  <a:cubicBezTo>
                    <a:pt x="4240" y="3487"/>
                    <a:pt x="4181" y="3546"/>
                    <a:pt x="4115" y="3546"/>
                  </a:cubicBezTo>
                  <a:lnTo>
                    <a:pt x="671" y="3546"/>
                  </a:lnTo>
                  <a:cubicBezTo>
                    <a:pt x="402" y="3546"/>
                    <a:pt x="187" y="3760"/>
                    <a:pt x="187" y="4025"/>
                  </a:cubicBezTo>
                  <a:cubicBezTo>
                    <a:pt x="187" y="4291"/>
                    <a:pt x="406" y="4505"/>
                    <a:pt x="671" y="4505"/>
                  </a:cubicBezTo>
                  <a:lnTo>
                    <a:pt x="4169" y="4505"/>
                  </a:lnTo>
                  <a:cubicBezTo>
                    <a:pt x="4758" y="4505"/>
                    <a:pt x="5245" y="4021"/>
                    <a:pt x="5245" y="3428"/>
                  </a:cubicBezTo>
                  <a:cubicBezTo>
                    <a:pt x="5245" y="2964"/>
                    <a:pt x="4949" y="2570"/>
                    <a:pt x="4540" y="2418"/>
                  </a:cubicBezTo>
                  <a:lnTo>
                    <a:pt x="1092" y="1201"/>
                  </a:lnTo>
                  <a:cubicBezTo>
                    <a:pt x="1045" y="1186"/>
                    <a:pt x="1010" y="1139"/>
                    <a:pt x="1010" y="1084"/>
                  </a:cubicBezTo>
                  <a:cubicBezTo>
                    <a:pt x="1010" y="1018"/>
                    <a:pt x="1061" y="960"/>
                    <a:pt x="1131" y="960"/>
                  </a:cubicBezTo>
                  <a:lnTo>
                    <a:pt x="4575" y="960"/>
                  </a:lnTo>
                  <a:cubicBezTo>
                    <a:pt x="4840" y="960"/>
                    <a:pt x="5054" y="745"/>
                    <a:pt x="5054" y="480"/>
                  </a:cubicBezTo>
                  <a:cubicBezTo>
                    <a:pt x="5054" y="215"/>
                    <a:pt x="4836" y="0"/>
                    <a:pt x="4575" y="0"/>
                  </a:cubicBezTo>
                  <a:lnTo>
                    <a:pt x="1072" y="0"/>
                  </a:lnTo>
                  <a:cubicBezTo>
                    <a:pt x="476" y="0"/>
                    <a:pt x="0" y="484"/>
                    <a:pt x="0" y="1077"/>
                  </a:cubicBezTo>
                  <a:cubicBezTo>
                    <a:pt x="0" y="1525"/>
                    <a:pt x="277" y="1911"/>
                    <a:pt x="667" y="2071"/>
                  </a:cubicBezTo>
                  <a:lnTo>
                    <a:pt x="4158" y="3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black">
            <a:xfrm>
              <a:off x="5196043" y="2446391"/>
              <a:ext cx="1321741" cy="1108419"/>
            </a:xfrm>
            <a:custGeom>
              <a:avLst/>
              <a:gdLst>
                <a:gd name="T0" fmla="*/ 2196 w 5433"/>
                <a:gd name="T1" fmla="*/ 4025 h 4540"/>
                <a:gd name="T2" fmla="*/ 2196 w 5433"/>
                <a:gd name="T3" fmla="*/ 4025 h 4540"/>
                <a:gd name="T4" fmla="*/ 2710 w 5433"/>
                <a:gd name="T5" fmla="*/ 4540 h 4540"/>
                <a:gd name="T6" fmla="*/ 3225 w 5433"/>
                <a:gd name="T7" fmla="*/ 4025 h 4540"/>
                <a:gd name="T8" fmla="*/ 3225 w 5433"/>
                <a:gd name="T9" fmla="*/ 1061 h 4540"/>
                <a:gd name="T10" fmla="*/ 3327 w 5433"/>
                <a:gd name="T11" fmla="*/ 960 h 4540"/>
                <a:gd name="T12" fmla="*/ 4953 w 5433"/>
                <a:gd name="T13" fmla="*/ 960 h 4540"/>
                <a:gd name="T14" fmla="*/ 5433 w 5433"/>
                <a:gd name="T15" fmla="*/ 480 h 4540"/>
                <a:gd name="T16" fmla="*/ 4953 w 5433"/>
                <a:gd name="T17" fmla="*/ 0 h 4540"/>
                <a:gd name="T18" fmla="*/ 479 w 5433"/>
                <a:gd name="T19" fmla="*/ 0 h 4540"/>
                <a:gd name="T20" fmla="*/ 0 w 5433"/>
                <a:gd name="T21" fmla="*/ 480 h 4540"/>
                <a:gd name="T22" fmla="*/ 479 w 5433"/>
                <a:gd name="T23" fmla="*/ 960 h 4540"/>
                <a:gd name="T24" fmla="*/ 2098 w 5433"/>
                <a:gd name="T25" fmla="*/ 960 h 4540"/>
                <a:gd name="T26" fmla="*/ 2196 w 5433"/>
                <a:gd name="T27" fmla="*/ 1061 h 4540"/>
                <a:gd name="T28" fmla="*/ 2196 w 5433"/>
                <a:gd name="T29" fmla="*/ 4025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33" h="4540">
                  <a:moveTo>
                    <a:pt x="2196" y="4025"/>
                  </a:moveTo>
                  <a:lnTo>
                    <a:pt x="2196" y="4025"/>
                  </a:lnTo>
                  <a:cubicBezTo>
                    <a:pt x="2192" y="4310"/>
                    <a:pt x="2426" y="4540"/>
                    <a:pt x="2710" y="4540"/>
                  </a:cubicBezTo>
                  <a:cubicBezTo>
                    <a:pt x="2995" y="4540"/>
                    <a:pt x="3225" y="4310"/>
                    <a:pt x="3225" y="4025"/>
                  </a:cubicBezTo>
                  <a:lnTo>
                    <a:pt x="3225" y="1061"/>
                  </a:lnTo>
                  <a:cubicBezTo>
                    <a:pt x="3225" y="1003"/>
                    <a:pt x="3272" y="960"/>
                    <a:pt x="3327" y="960"/>
                  </a:cubicBezTo>
                  <a:lnTo>
                    <a:pt x="4953" y="960"/>
                  </a:lnTo>
                  <a:cubicBezTo>
                    <a:pt x="5218" y="960"/>
                    <a:pt x="5433" y="745"/>
                    <a:pt x="5433" y="480"/>
                  </a:cubicBezTo>
                  <a:cubicBezTo>
                    <a:pt x="5433" y="215"/>
                    <a:pt x="5214" y="0"/>
                    <a:pt x="4953" y="0"/>
                  </a:cubicBezTo>
                  <a:lnTo>
                    <a:pt x="479" y="0"/>
                  </a:lnTo>
                  <a:cubicBezTo>
                    <a:pt x="214" y="0"/>
                    <a:pt x="0" y="215"/>
                    <a:pt x="0" y="480"/>
                  </a:cubicBezTo>
                  <a:cubicBezTo>
                    <a:pt x="0" y="745"/>
                    <a:pt x="214" y="960"/>
                    <a:pt x="479" y="960"/>
                  </a:cubicBezTo>
                  <a:lnTo>
                    <a:pt x="2098" y="960"/>
                  </a:lnTo>
                  <a:cubicBezTo>
                    <a:pt x="2153" y="960"/>
                    <a:pt x="2196" y="1003"/>
                    <a:pt x="2196" y="1061"/>
                  </a:cubicBezTo>
                  <a:lnTo>
                    <a:pt x="2196" y="40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8"/>
            <p:cNvSpPr>
              <a:spLocks/>
            </p:cNvSpPr>
            <p:nvPr userDrawn="1"/>
          </p:nvSpPr>
          <p:spPr bwMode="black">
            <a:xfrm>
              <a:off x="2550417" y="2446391"/>
              <a:ext cx="1250991" cy="1099843"/>
            </a:xfrm>
            <a:custGeom>
              <a:avLst/>
              <a:gdLst>
                <a:gd name="T0" fmla="*/ 1029 w 5144"/>
                <a:gd name="T1" fmla="*/ 2797 h 4505"/>
                <a:gd name="T2" fmla="*/ 1029 w 5144"/>
                <a:gd name="T3" fmla="*/ 2797 h 4505"/>
                <a:gd name="T4" fmla="*/ 1127 w 5144"/>
                <a:gd name="T5" fmla="*/ 2699 h 4505"/>
                <a:gd name="T6" fmla="*/ 3810 w 5144"/>
                <a:gd name="T7" fmla="*/ 2699 h 4505"/>
                <a:gd name="T8" fmla="*/ 4255 w 5144"/>
                <a:gd name="T9" fmla="*/ 2251 h 4505"/>
                <a:gd name="T10" fmla="*/ 3810 w 5144"/>
                <a:gd name="T11" fmla="*/ 1806 h 4505"/>
                <a:gd name="T12" fmla="*/ 1127 w 5144"/>
                <a:gd name="T13" fmla="*/ 1806 h 4505"/>
                <a:gd name="T14" fmla="*/ 1029 w 5144"/>
                <a:gd name="T15" fmla="*/ 1709 h 4505"/>
                <a:gd name="T16" fmla="*/ 1029 w 5144"/>
                <a:gd name="T17" fmla="*/ 1443 h 4505"/>
                <a:gd name="T18" fmla="*/ 1509 w 5144"/>
                <a:gd name="T19" fmla="*/ 960 h 4505"/>
                <a:gd name="T20" fmla="*/ 4664 w 5144"/>
                <a:gd name="T21" fmla="*/ 960 h 4505"/>
                <a:gd name="T22" fmla="*/ 5144 w 5144"/>
                <a:gd name="T23" fmla="*/ 480 h 4505"/>
                <a:gd name="T24" fmla="*/ 4664 w 5144"/>
                <a:gd name="T25" fmla="*/ 0 h 4505"/>
                <a:gd name="T26" fmla="*/ 1318 w 5144"/>
                <a:gd name="T27" fmla="*/ 0 h 4505"/>
                <a:gd name="T28" fmla="*/ 0 w 5144"/>
                <a:gd name="T29" fmla="*/ 1318 h 4505"/>
                <a:gd name="T30" fmla="*/ 0 w 5144"/>
                <a:gd name="T31" fmla="*/ 3187 h 4505"/>
                <a:gd name="T32" fmla="*/ 1318 w 5144"/>
                <a:gd name="T33" fmla="*/ 4505 h 4505"/>
                <a:gd name="T34" fmla="*/ 4664 w 5144"/>
                <a:gd name="T35" fmla="*/ 4505 h 4505"/>
                <a:gd name="T36" fmla="*/ 5144 w 5144"/>
                <a:gd name="T37" fmla="*/ 4025 h 4505"/>
                <a:gd name="T38" fmla="*/ 4664 w 5144"/>
                <a:gd name="T39" fmla="*/ 3546 h 4505"/>
                <a:gd name="T40" fmla="*/ 1509 w 5144"/>
                <a:gd name="T41" fmla="*/ 3546 h 4505"/>
                <a:gd name="T42" fmla="*/ 1029 w 5144"/>
                <a:gd name="T43" fmla="*/ 3062 h 4505"/>
                <a:gd name="T44" fmla="*/ 1029 w 5144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4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27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2" y="1806"/>
                    <a:pt x="3810" y="1806"/>
                  </a:cubicBezTo>
                  <a:lnTo>
                    <a:pt x="1127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8"/>
                    <a:pt x="1244" y="960"/>
                    <a:pt x="1509" y="960"/>
                  </a:cubicBezTo>
                  <a:lnTo>
                    <a:pt x="4664" y="960"/>
                  </a:lnTo>
                  <a:cubicBezTo>
                    <a:pt x="4929" y="960"/>
                    <a:pt x="5144" y="745"/>
                    <a:pt x="5144" y="480"/>
                  </a:cubicBezTo>
                  <a:cubicBezTo>
                    <a:pt x="5144" y="215"/>
                    <a:pt x="4929" y="0"/>
                    <a:pt x="4664" y="0"/>
                  </a:cubicBezTo>
                  <a:lnTo>
                    <a:pt x="1318" y="0"/>
                  </a:lnTo>
                  <a:cubicBezTo>
                    <a:pt x="588" y="4"/>
                    <a:pt x="0" y="593"/>
                    <a:pt x="0" y="1318"/>
                  </a:cubicBezTo>
                  <a:lnTo>
                    <a:pt x="0" y="3187"/>
                  </a:lnTo>
                  <a:cubicBezTo>
                    <a:pt x="0" y="3916"/>
                    <a:pt x="588" y="4501"/>
                    <a:pt x="1318" y="4505"/>
                  </a:cubicBezTo>
                  <a:lnTo>
                    <a:pt x="4664" y="4505"/>
                  </a:lnTo>
                  <a:cubicBezTo>
                    <a:pt x="4929" y="4505"/>
                    <a:pt x="5144" y="4291"/>
                    <a:pt x="5144" y="4025"/>
                  </a:cubicBezTo>
                  <a:cubicBezTo>
                    <a:pt x="5144" y="3760"/>
                    <a:pt x="4929" y="3546"/>
                    <a:pt x="4664" y="3546"/>
                  </a:cubicBezTo>
                  <a:lnTo>
                    <a:pt x="1509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black">
            <a:xfrm>
              <a:off x="1170790" y="2446391"/>
              <a:ext cx="1253135" cy="1108419"/>
            </a:xfrm>
            <a:custGeom>
              <a:avLst/>
              <a:gdLst>
                <a:gd name="T0" fmla="*/ 98 w 5152"/>
                <a:gd name="T1" fmla="*/ 0 h 4540"/>
                <a:gd name="T2" fmla="*/ 3834 w 5152"/>
                <a:gd name="T3" fmla="*/ 0 h 4540"/>
                <a:gd name="T4" fmla="*/ 5152 w 5152"/>
                <a:gd name="T5" fmla="*/ 1318 h 4540"/>
                <a:gd name="T6" fmla="*/ 5152 w 5152"/>
                <a:gd name="T7" fmla="*/ 4025 h 4540"/>
                <a:gd name="T8" fmla="*/ 4637 w 5152"/>
                <a:gd name="T9" fmla="*/ 4540 h 4540"/>
                <a:gd name="T10" fmla="*/ 4122 w 5152"/>
                <a:gd name="T11" fmla="*/ 4025 h 4540"/>
                <a:gd name="T12" fmla="*/ 4122 w 5152"/>
                <a:gd name="T13" fmla="*/ 1443 h 4540"/>
                <a:gd name="T14" fmla="*/ 3643 w 5152"/>
                <a:gd name="T15" fmla="*/ 960 h 4540"/>
                <a:gd name="T16" fmla="*/ 1131 w 5152"/>
                <a:gd name="T17" fmla="*/ 960 h 4540"/>
                <a:gd name="T18" fmla="*/ 1034 w 5152"/>
                <a:gd name="T19" fmla="*/ 1061 h 4540"/>
                <a:gd name="T20" fmla="*/ 1034 w 5152"/>
                <a:gd name="T21" fmla="*/ 4025 h 4540"/>
                <a:gd name="T22" fmla="*/ 515 w 5152"/>
                <a:gd name="T23" fmla="*/ 4540 h 4540"/>
                <a:gd name="T24" fmla="*/ 0 w 5152"/>
                <a:gd name="T25" fmla="*/ 4025 h 4540"/>
                <a:gd name="T26" fmla="*/ 0 w 5152"/>
                <a:gd name="T27" fmla="*/ 98 h 4540"/>
                <a:gd name="T28" fmla="*/ 98 w 5152"/>
                <a:gd name="T29" fmla="*/ 0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2" h="4540">
                  <a:moveTo>
                    <a:pt x="98" y="0"/>
                  </a:moveTo>
                  <a:lnTo>
                    <a:pt x="3834" y="0"/>
                  </a:lnTo>
                  <a:cubicBezTo>
                    <a:pt x="4563" y="0"/>
                    <a:pt x="5152" y="593"/>
                    <a:pt x="5152" y="1318"/>
                  </a:cubicBezTo>
                  <a:lnTo>
                    <a:pt x="5152" y="4025"/>
                  </a:lnTo>
                  <a:cubicBezTo>
                    <a:pt x="5152" y="4310"/>
                    <a:pt x="4922" y="4540"/>
                    <a:pt x="4637" y="4540"/>
                  </a:cubicBezTo>
                  <a:cubicBezTo>
                    <a:pt x="4353" y="4540"/>
                    <a:pt x="4119" y="4310"/>
                    <a:pt x="4122" y="4025"/>
                  </a:cubicBezTo>
                  <a:lnTo>
                    <a:pt x="4122" y="1443"/>
                  </a:lnTo>
                  <a:cubicBezTo>
                    <a:pt x="4119" y="1178"/>
                    <a:pt x="3908" y="960"/>
                    <a:pt x="3643" y="960"/>
                  </a:cubicBezTo>
                  <a:lnTo>
                    <a:pt x="1131" y="960"/>
                  </a:lnTo>
                  <a:cubicBezTo>
                    <a:pt x="1077" y="960"/>
                    <a:pt x="1030" y="1006"/>
                    <a:pt x="1034" y="1061"/>
                  </a:cubicBezTo>
                  <a:lnTo>
                    <a:pt x="1034" y="4025"/>
                  </a:lnTo>
                  <a:cubicBezTo>
                    <a:pt x="1034" y="4310"/>
                    <a:pt x="800" y="4540"/>
                    <a:pt x="515" y="4540"/>
                  </a:cubicBezTo>
                  <a:cubicBezTo>
                    <a:pt x="230" y="4540"/>
                    <a:pt x="0" y="4310"/>
                    <a:pt x="0" y="4025"/>
                  </a:cubicBezTo>
                  <a:lnTo>
                    <a:pt x="0" y="98"/>
                  </a:lnTo>
                  <a:cubicBezTo>
                    <a:pt x="0" y="43"/>
                    <a:pt x="47" y="0"/>
                    <a:pt x="9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4" name="Tekstin paikkamerkki 7"/>
          <p:cNvSpPr>
            <a:spLocks noGrp="1"/>
          </p:cNvSpPr>
          <p:nvPr>
            <p:ph type="body" sz="quarter" idx="13" hasCustomPrompt="1"/>
          </p:nvPr>
        </p:nvSpPr>
        <p:spPr>
          <a:xfrm>
            <a:off x="727075" y="3009600"/>
            <a:ext cx="3916800" cy="518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. N., title or business unit, example@neste.com</a:t>
            </a:r>
          </a:p>
        </p:txBody>
      </p:sp>
    </p:spTree>
    <p:extLst>
      <p:ext uri="{BB962C8B-B14F-4D97-AF65-F5344CB8AC3E}">
        <p14:creationId xmlns:p14="http://schemas.microsoft.com/office/powerpoint/2010/main" val="30636840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Ryhmä 11"/>
          <p:cNvGrpSpPr/>
          <p:nvPr userDrawn="1"/>
        </p:nvGrpSpPr>
        <p:grpSpPr bwMode="black">
          <a:xfrm>
            <a:off x="3418730" y="2378641"/>
            <a:ext cx="2314413" cy="386545"/>
            <a:chOff x="1170790" y="2446391"/>
            <a:chExt cx="6636576" cy="1108419"/>
          </a:xfrm>
          <a:solidFill>
            <a:srgbClr val="001177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black">
            <a:xfrm>
              <a:off x="6555303" y="2446391"/>
              <a:ext cx="1252063" cy="1099843"/>
            </a:xfrm>
            <a:custGeom>
              <a:avLst/>
              <a:gdLst>
                <a:gd name="T0" fmla="*/ 1029 w 5148"/>
                <a:gd name="T1" fmla="*/ 2797 h 4505"/>
                <a:gd name="T2" fmla="*/ 1029 w 5148"/>
                <a:gd name="T3" fmla="*/ 2797 h 4505"/>
                <a:gd name="T4" fmla="*/ 1131 w 5148"/>
                <a:gd name="T5" fmla="*/ 2699 h 4505"/>
                <a:gd name="T6" fmla="*/ 3810 w 5148"/>
                <a:gd name="T7" fmla="*/ 2699 h 4505"/>
                <a:gd name="T8" fmla="*/ 4255 w 5148"/>
                <a:gd name="T9" fmla="*/ 2251 h 4505"/>
                <a:gd name="T10" fmla="*/ 3810 w 5148"/>
                <a:gd name="T11" fmla="*/ 1806 h 4505"/>
                <a:gd name="T12" fmla="*/ 1131 w 5148"/>
                <a:gd name="T13" fmla="*/ 1806 h 4505"/>
                <a:gd name="T14" fmla="*/ 1029 w 5148"/>
                <a:gd name="T15" fmla="*/ 1709 h 4505"/>
                <a:gd name="T16" fmla="*/ 1029 w 5148"/>
                <a:gd name="T17" fmla="*/ 1443 h 4505"/>
                <a:gd name="T18" fmla="*/ 1513 w 5148"/>
                <a:gd name="T19" fmla="*/ 960 h 4505"/>
                <a:gd name="T20" fmla="*/ 4664 w 5148"/>
                <a:gd name="T21" fmla="*/ 960 h 4505"/>
                <a:gd name="T22" fmla="*/ 5148 w 5148"/>
                <a:gd name="T23" fmla="*/ 480 h 4505"/>
                <a:gd name="T24" fmla="*/ 4664 w 5148"/>
                <a:gd name="T25" fmla="*/ 0 h 4505"/>
                <a:gd name="T26" fmla="*/ 1322 w 5148"/>
                <a:gd name="T27" fmla="*/ 0 h 4505"/>
                <a:gd name="T28" fmla="*/ 0 w 5148"/>
                <a:gd name="T29" fmla="*/ 1322 h 4505"/>
                <a:gd name="T30" fmla="*/ 0 w 5148"/>
                <a:gd name="T31" fmla="*/ 3187 h 4505"/>
                <a:gd name="T32" fmla="*/ 1322 w 5148"/>
                <a:gd name="T33" fmla="*/ 4505 h 4505"/>
                <a:gd name="T34" fmla="*/ 4664 w 5148"/>
                <a:gd name="T35" fmla="*/ 4505 h 4505"/>
                <a:gd name="T36" fmla="*/ 5148 w 5148"/>
                <a:gd name="T37" fmla="*/ 4025 h 4505"/>
                <a:gd name="T38" fmla="*/ 4664 w 5148"/>
                <a:gd name="T39" fmla="*/ 3546 h 4505"/>
                <a:gd name="T40" fmla="*/ 1513 w 5148"/>
                <a:gd name="T41" fmla="*/ 3546 h 4505"/>
                <a:gd name="T42" fmla="*/ 1029 w 5148"/>
                <a:gd name="T43" fmla="*/ 3062 h 4505"/>
                <a:gd name="T44" fmla="*/ 1029 w 5148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8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31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6" y="1806"/>
                    <a:pt x="3810" y="1806"/>
                  </a:cubicBezTo>
                  <a:lnTo>
                    <a:pt x="1131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4"/>
                    <a:pt x="1244" y="960"/>
                    <a:pt x="1513" y="960"/>
                  </a:cubicBezTo>
                  <a:lnTo>
                    <a:pt x="4664" y="960"/>
                  </a:lnTo>
                  <a:cubicBezTo>
                    <a:pt x="4929" y="960"/>
                    <a:pt x="5148" y="745"/>
                    <a:pt x="5148" y="480"/>
                  </a:cubicBezTo>
                  <a:cubicBezTo>
                    <a:pt x="5148" y="215"/>
                    <a:pt x="4929" y="0"/>
                    <a:pt x="4664" y="0"/>
                  </a:cubicBezTo>
                  <a:lnTo>
                    <a:pt x="1322" y="0"/>
                  </a:lnTo>
                  <a:cubicBezTo>
                    <a:pt x="593" y="4"/>
                    <a:pt x="0" y="593"/>
                    <a:pt x="0" y="1322"/>
                  </a:cubicBezTo>
                  <a:lnTo>
                    <a:pt x="0" y="3187"/>
                  </a:lnTo>
                  <a:cubicBezTo>
                    <a:pt x="0" y="3912"/>
                    <a:pt x="593" y="4501"/>
                    <a:pt x="1322" y="4505"/>
                  </a:cubicBezTo>
                  <a:lnTo>
                    <a:pt x="4664" y="4505"/>
                  </a:lnTo>
                  <a:cubicBezTo>
                    <a:pt x="4929" y="4505"/>
                    <a:pt x="5148" y="4291"/>
                    <a:pt x="5148" y="4025"/>
                  </a:cubicBezTo>
                  <a:cubicBezTo>
                    <a:pt x="5148" y="3760"/>
                    <a:pt x="4929" y="3546"/>
                    <a:pt x="4664" y="3546"/>
                  </a:cubicBezTo>
                  <a:lnTo>
                    <a:pt x="1513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black">
            <a:xfrm>
              <a:off x="3875374" y="2446391"/>
              <a:ext cx="1275646" cy="1099843"/>
            </a:xfrm>
            <a:custGeom>
              <a:avLst/>
              <a:gdLst>
                <a:gd name="T0" fmla="*/ 4158 w 5245"/>
                <a:gd name="T1" fmla="*/ 3304 h 4505"/>
                <a:gd name="T2" fmla="*/ 4158 w 5245"/>
                <a:gd name="T3" fmla="*/ 3304 h 4505"/>
                <a:gd name="T4" fmla="*/ 4240 w 5245"/>
                <a:gd name="T5" fmla="*/ 3421 h 4505"/>
                <a:gd name="T6" fmla="*/ 4115 w 5245"/>
                <a:gd name="T7" fmla="*/ 3546 h 4505"/>
                <a:gd name="T8" fmla="*/ 671 w 5245"/>
                <a:gd name="T9" fmla="*/ 3546 h 4505"/>
                <a:gd name="T10" fmla="*/ 187 w 5245"/>
                <a:gd name="T11" fmla="*/ 4025 h 4505"/>
                <a:gd name="T12" fmla="*/ 671 w 5245"/>
                <a:gd name="T13" fmla="*/ 4505 h 4505"/>
                <a:gd name="T14" fmla="*/ 4169 w 5245"/>
                <a:gd name="T15" fmla="*/ 4505 h 4505"/>
                <a:gd name="T16" fmla="*/ 5245 w 5245"/>
                <a:gd name="T17" fmla="*/ 3428 h 4505"/>
                <a:gd name="T18" fmla="*/ 4540 w 5245"/>
                <a:gd name="T19" fmla="*/ 2418 h 4505"/>
                <a:gd name="T20" fmla="*/ 1092 w 5245"/>
                <a:gd name="T21" fmla="*/ 1201 h 4505"/>
                <a:gd name="T22" fmla="*/ 1010 w 5245"/>
                <a:gd name="T23" fmla="*/ 1084 h 4505"/>
                <a:gd name="T24" fmla="*/ 1131 w 5245"/>
                <a:gd name="T25" fmla="*/ 960 h 4505"/>
                <a:gd name="T26" fmla="*/ 4575 w 5245"/>
                <a:gd name="T27" fmla="*/ 960 h 4505"/>
                <a:gd name="T28" fmla="*/ 5054 w 5245"/>
                <a:gd name="T29" fmla="*/ 480 h 4505"/>
                <a:gd name="T30" fmla="*/ 4575 w 5245"/>
                <a:gd name="T31" fmla="*/ 0 h 4505"/>
                <a:gd name="T32" fmla="*/ 1072 w 5245"/>
                <a:gd name="T33" fmla="*/ 0 h 4505"/>
                <a:gd name="T34" fmla="*/ 0 w 5245"/>
                <a:gd name="T35" fmla="*/ 1077 h 4505"/>
                <a:gd name="T36" fmla="*/ 667 w 5245"/>
                <a:gd name="T37" fmla="*/ 2071 h 4505"/>
                <a:gd name="T38" fmla="*/ 4158 w 5245"/>
                <a:gd name="T39" fmla="*/ 3304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45" h="4505">
                  <a:moveTo>
                    <a:pt x="4158" y="3304"/>
                  </a:moveTo>
                  <a:lnTo>
                    <a:pt x="4158" y="3304"/>
                  </a:lnTo>
                  <a:cubicBezTo>
                    <a:pt x="4201" y="3323"/>
                    <a:pt x="4240" y="3366"/>
                    <a:pt x="4240" y="3421"/>
                  </a:cubicBezTo>
                  <a:cubicBezTo>
                    <a:pt x="4240" y="3487"/>
                    <a:pt x="4181" y="3546"/>
                    <a:pt x="4115" y="3546"/>
                  </a:cubicBezTo>
                  <a:lnTo>
                    <a:pt x="671" y="3546"/>
                  </a:lnTo>
                  <a:cubicBezTo>
                    <a:pt x="402" y="3546"/>
                    <a:pt x="187" y="3760"/>
                    <a:pt x="187" y="4025"/>
                  </a:cubicBezTo>
                  <a:cubicBezTo>
                    <a:pt x="187" y="4291"/>
                    <a:pt x="406" y="4505"/>
                    <a:pt x="671" y="4505"/>
                  </a:cubicBezTo>
                  <a:lnTo>
                    <a:pt x="4169" y="4505"/>
                  </a:lnTo>
                  <a:cubicBezTo>
                    <a:pt x="4758" y="4505"/>
                    <a:pt x="5245" y="4021"/>
                    <a:pt x="5245" y="3428"/>
                  </a:cubicBezTo>
                  <a:cubicBezTo>
                    <a:pt x="5245" y="2964"/>
                    <a:pt x="4949" y="2570"/>
                    <a:pt x="4540" y="2418"/>
                  </a:cubicBezTo>
                  <a:lnTo>
                    <a:pt x="1092" y="1201"/>
                  </a:lnTo>
                  <a:cubicBezTo>
                    <a:pt x="1045" y="1186"/>
                    <a:pt x="1010" y="1139"/>
                    <a:pt x="1010" y="1084"/>
                  </a:cubicBezTo>
                  <a:cubicBezTo>
                    <a:pt x="1010" y="1018"/>
                    <a:pt x="1061" y="960"/>
                    <a:pt x="1131" y="960"/>
                  </a:cubicBezTo>
                  <a:lnTo>
                    <a:pt x="4575" y="960"/>
                  </a:lnTo>
                  <a:cubicBezTo>
                    <a:pt x="4840" y="960"/>
                    <a:pt x="5054" y="745"/>
                    <a:pt x="5054" y="480"/>
                  </a:cubicBezTo>
                  <a:cubicBezTo>
                    <a:pt x="5054" y="215"/>
                    <a:pt x="4836" y="0"/>
                    <a:pt x="4575" y="0"/>
                  </a:cubicBezTo>
                  <a:lnTo>
                    <a:pt x="1072" y="0"/>
                  </a:lnTo>
                  <a:cubicBezTo>
                    <a:pt x="476" y="0"/>
                    <a:pt x="0" y="484"/>
                    <a:pt x="0" y="1077"/>
                  </a:cubicBezTo>
                  <a:cubicBezTo>
                    <a:pt x="0" y="1525"/>
                    <a:pt x="277" y="1911"/>
                    <a:pt x="667" y="2071"/>
                  </a:cubicBezTo>
                  <a:lnTo>
                    <a:pt x="4158" y="3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black">
            <a:xfrm>
              <a:off x="5196043" y="2446391"/>
              <a:ext cx="1321741" cy="1108419"/>
            </a:xfrm>
            <a:custGeom>
              <a:avLst/>
              <a:gdLst>
                <a:gd name="T0" fmla="*/ 2196 w 5433"/>
                <a:gd name="T1" fmla="*/ 4025 h 4540"/>
                <a:gd name="T2" fmla="*/ 2196 w 5433"/>
                <a:gd name="T3" fmla="*/ 4025 h 4540"/>
                <a:gd name="T4" fmla="*/ 2710 w 5433"/>
                <a:gd name="T5" fmla="*/ 4540 h 4540"/>
                <a:gd name="T6" fmla="*/ 3225 w 5433"/>
                <a:gd name="T7" fmla="*/ 4025 h 4540"/>
                <a:gd name="T8" fmla="*/ 3225 w 5433"/>
                <a:gd name="T9" fmla="*/ 1061 h 4540"/>
                <a:gd name="T10" fmla="*/ 3327 w 5433"/>
                <a:gd name="T11" fmla="*/ 960 h 4540"/>
                <a:gd name="T12" fmla="*/ 4953 w 5433"/>
                <a:gd name="T13" fmla="*/ 960 h 4540"/>
                <a:gd name="T14" fmla="*/ 5433 w 5433"/>
                <a:gd name="T15" fmla="*/ 480 h 4540"/>
                <a:gd name="T16" fmla="*/ 4953 w 5433"/>
                <a:gd name="T17" fmla="*/ 0 h 4540"/>
                <a:gd name="T18" fmla="*/ 479 w 5433"/>
                <a:gd name="T19" fmla="*/ 0 h 4540"/>
                <a:gd name="T20" fmla="*/ 0 w 5433"/>
                <a:gd name="T21" fmla="*/ 480 h 4540"/>
                <a:gd name="T22" fmla="*/ 479 w 5433"/>
                <a:gd name="T23" fmla="*/ 960 h 4540"/>
                <a:gd name="T24" fmla="*/ 2098 w 5433"/>
                <a:gd name="T25" fmla="*/ 960 h 4540"/>
                <a:gd name="T26" fmla="*/ 2196 w 5433"/>
                <a:gd name="T27" fmla="*/ 1061 h 4540"/>
                <a:gd name="T28" fmla="*/ 2196 w 5433"/>
                <a:gd name="T29" fmla="*/ 4025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33" h="4540">
                  <a:moveTo>
                    <a:pt x="2196" y="4025"/>
                  </a:moveTo>
                  <a:lnTo>
                    <a:pt x="2196" y="4025"/>
                  </a:lnTo>
                  <a:cubicBezTo>
                    <a:pt x="2192" y="4310"/>
                    <a:pt x="2426" y="4540"/>
                    <a:pt x="2710" y="4540"/>
                  </a:cubicBezTo>
                  <a:cubicBezTo>
                    <a:pt x="2995" y="4540"/>
                    <a:pt x="3225" y="4310"/>
                    <a:pt x="3225" y="4025"/>
                  </a:cubicBezTo>
                  <a:lnTo>
                    <a:pt x="3225" y="1061"/>
                  </a:lnTo>
                  <a:cubicBezTo>
                    <a:pt x="3225" y="1003"/>
                    <a:pt x="3272" y="960"/>
                    <a:pt x="3327" y="960"/>
                  </a:cubicBezTo>
                  <a:lnTo>
                    <a:pt x="4953" y="960"/>
                  </a:lnTo>
                  <a:cubicBezTo>
                    <a:pt x="5218" y="960"/>
                    <a:pt x="5433" y="745"/>
                    <a:pt x="5433" y="480"/>
                  </a:cubicBezTo>
                  <a:cubicBezTo>
                    <a:pt x="5433" y="215"/>
                    <a:pt x="5214" y="0"/>
                    <a:pt x="4953" y="0"/>
                  </a:cubicBezTo>
                  <a:lnTo>
                    <a:pt x="479" y="0"/>
                  </a:lnTo>
                  <a:cubicBezTo>
                    <a:pt x="214" y="0"/>
                    <a:pt x="0" y="215"/>
                    <a:pt x="0" y="480"/>
                  </a:cubicBezTo>
                  <a:cubicBezTo>
                    <a:pt x="0" y="745"/>
                    <a:pt x="214" y="960"/>
                    <a:pt x="479" y="960"/>
                  </a:cubicBezTo>
                  <a:lnTo>
                    <a:pt x="2098" y="960"/>
                  </a:lnTo>
                  <a:cubicBezTo>
                    <a:pt x="2153" y="960"/>
                    <a:pt x="2196" y="1003"/>
                    <a:pt x="2196" y="1061"/>
                  </a:cubicBezTo>
                  <a:lnTo>
                    <a:pt x="2196" y="40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black">
            <a:xfrm>
              <a:off x="2550417" y="2446391"/>
              <a:ext cx="1250991" cy="1099843"/>
            </a:xfrm>
            <a:custGeom>
              <a:avLst/>
              <a:gdLst>
                <a:gd name="T0" fmla="*/ 1029 w 5144"/>
                <a:gd name="T1" fmla="*/ 2797 h 4505"/>
                <a:gd name="T2" fmla="*/ 1029 w 5144"/>
                <a:gd name="T3" fmla="*/ 2797 h 4505"/>
                <a:gd name="T4" fmla="*/ 1127 w 5144"/>
                <a:gd name="T5" fmla="*/ 2699 h 4505"/>
                <a:gd name="T6" fmla="*/ 3810 w 5144"/>
                <a:gd name="T7" fmla="*/ 2699 h 4505"/>
                <a:gd name="T8" fmla="*/ 4255 w 5144"/>
                <a:gd name="T9" fmla="*/ 2251 h 4505"/>
                <a:gd name="T10" fmla="*/ 3810 w 5144"/>
                <a:gd name="T11" fmla="*/ 1806 h 4505"/>
                <a:gd name="T12" fmla="*/ 1127 w 5144"/>
                <a:gd name="T13" fmla="*/ 1806 h 4505"/>
                <a:gd name="T14" fmla="*/ 1029 w 5144"/>
                <a:gd name="T15" fmla="*/ 1709 h 4505"/>
                <a:gd name="T16" fmla="*/ 1029 w 5144"/>
                <a:gd name="T17" fmla="*/ 1443 h 4505"/>
                <a:gd name="T18" fmla="*/ 1509 w 5144"/>
                <a:gd name="T19" fmla="*/ 960 h 4505"/>
                <a:gd name="T20" fmla="*/ 4664 w 5144"/>
                <a:gd name="T21" fmla="*/ 960 h 4505"/>
                <a:gd name="T22" fmla="*/ 5144 w 5144"/>
                <a:gd name="T23" fmla="*/ 480 h 4505"/>
                <a:gd name="T24" fmla="*/ 4664 w 5144"/>
                <a:gd name="T25" fmla="*/ 0 h 4505"/>
                <a:gd name="T26" fmla="*/ 1318 w 5144"/>
                <a:gd name="T27" fmla="*/ 0 h 4505"/>
                <a:gd name="T28" fmla="*/ 0 w 5144"/>
                <a:gd name="T29" fmla="*/ 1318 h 4505"/>
                <a:gd name="T30" fmla="*/ 0 w 5144"/>
                <a:gd name="T31" fmla="*/ 3187 h 4505"/>
                <a:gd name="T32" fmla="*/ 1318 w 5144"/>
                <a:gd name="T33" fmla="*/ 4505 h 4505"/>
                <a:gd name="T34" fmla="*/ 4664 w 5144"/>
                <a:gd name="T35" fmla="*/ 4505 h 4505"/>
                <a:gd name="T36" fmla="*/ 5144 w 5144"/>
                <a:gd name="T37" fmla="*/ 4025 h 4505"/>
                <a:gd name="T38" fmla="*/ 4664 w 5144"/>
                <a:gd name="T39" fmla="*/ 3546 h 4505"/>
                <a:gd name="T40" fmla="*/ 1509 w 5144"/>
                <a:gd name="T41" fmla="*/ 3546 h 4505"/>
                <a:gd name="T42" fmla="*/ 1029 w 5144"/>
                <a:gd name="T43" fmla="*/ 3062 h 4505"/>
                <a:gd name="T44" fmla="*/ 1029 w 5144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4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27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2" y="1806"/>
                    <a:pt x="3810" y="1806"/>
                  </a:cubicBezTo>
                  <a:lnTo>
                    <a:pt x="1127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8"/>
                    <a:pt x="1244" y="960"/>
                    <a:pt x="1509" y="960"/>
                  </a:cubicBezTo>
                  <a:lnTo>
                    <a:pt x="4664" y="960"/>
                  </a:lnTo>
                  <a:cubicBezTo>
                    <a:pt x="4929" y="960"/>
                    <a:pt x="5144" y="745"/>
                    <a:pt x="5144" y="480"/>
                  </a:cubicBezTo>
                  <a:cubicBezTo>
                    <a:pt x="5144" y="215"/>
                    <a:pt x="4929" y="0"/>
                    <a:pt x="4664" y="0"/>
                  </a:cubicBezTo>
                  <a:lnTo>
                    <a:pt x="1318" y="0"/>
                  </a:lnTo>
                  <a:cubicBezTo>
                    <a:pt x="588" y="4"/>
                    <a:pt x="0" y="593"/>
                    <a:pt x="0" y="1318"/>
                  </a:cubicBezTo>
                  <a:lnTo>
                    <a:pt x="0" y="3187"/>
                  </a:lnTo>
                  <a:cubicBezTo>
                    <a:pt x="0" y="3916"/>
                    <a:pt x="588" y="4501"/>
                    <a:pt x="1318" y="4505"/>
                  </a:cubicBezTo>
                  <a:lnTo>
                    <a:pt x="4664" y="4505"/>
                  </a:lnTo>
                  <a:cubicBezTo>
                    <a:pt x="4929" y="4505"/>
                    <a:pt x="5144" y="4291"/>
                    <a:pt x="5144" y="4025"/>
                  </a:cubicBezTo>
                  <a:cubicBezTo>
                    <a:pt x="5144" y="3760"/>
                    <a:pt x="4929" y="3546"/>
                    <a:pt x="4664" y="3546"/>
                  </a:cubicBezTo>
                  <a:lnTo>
                    <a:pt x="1509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black">
            <a:xfrm>
              <a:off x="1170790" y="2446391"/>
              <a:ext cx="1253135" cy="1108419"/>
            </a:xfrm>
            <a:custGeom>
              <a:avLst/>
              <a:gdLst>
                <a:gd name="T0" fmla="*/ 98 w 5152"/>
                <a:gd name="T1" fmla="*/ 0 h 4540"/>
                <a:gd name="T2" fmla="*/ 3834 w 5152"/>
                <a:gd name="T3" fmla="*/ 0 h 4540"/>
                <a:gd name="T4" fmla="*/ 5152 w 5152"/>
                <a:gd name="T5" fmla="*/ 1318 h 4540"/>
                <a:gd name="T6" fmla="*/ 5152 w 5152"/>
                <a:gd name="T7" fmla="*/ 4025 h 4540"/>
                <a:gd name="T8" fmla="*/ 4637 w 5152"/>
                <a:gd name="T9" fmla="*/ 4540 h 4540"/>
                <a:gd name="T10" fmla="*/ 4122 w 5152"/>
                <a:gd name="T11" fmla="*/ 4025 h 4540"/>
                <a:gd name="T12" fmla="*/ 4122 w 5152"/>
                <a:gd name="T13" fmla="*/ 1443 h 4540"/>
                <a:gd name="T14" fmla="*/ 3643 w 5152"/>
                <a:gd name="T15" fmla="*/ 960 h 4540"/>
                <a:gd name="T16" fmla="*/ 1131 w 5152"/>
                <a:gd name="T17" fmla="*/ 960 h 4540"/>
                <a:gd name="T18" fmla="*/ 1034 w 5152"/>
                <a:gd name="T19" fmla="*/ 1061 h 4540"/>
                <a:gd name="T20" fmla="*/ 1034 w 5152"/>
                <a:gd name="T21" fmla="*/ 4025 h 4540"/>
                <a:gd name="T22" fmla="*/ 515 w 5152"/>
                <a:gd name="T23" fmla="*/ 4540 h 4540"/>
                <a:gd name="T24" fmla="*/ 0 w 5152"/>
                <a:gd name="T25" fmla="*/ 4025 h 4540"/>
                <a:gd name="T26" fmla="*/ 0 w 5152"/>
                <a:gd name="T27" fmla="*/ 98 h 4540"/>
                <a:gd name="T28" fmla="*/ 98 w 5152"/>
                <a:gd name="T29" fmla="*/ 0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2" h="4540">
                  <a:moveTo>
                    <a:pt x="98" y="0"/>
                  </a:moveTo>
                  <a:lnTo>
                    <a:pt x="3834" y="0"/>
                  </a:lnTo>
                  <a:cubicBezTo>
                    <a:pt x="4563" y="0"/>
                    <a:pt x="5152" y="593"/>
                    <a:pt x="5152" y="1318"/>
                  </a:cubicBezTo>
                  <a:lnTo>
                    <a:pt x="5152" y="4025"/>
                  </a:lnTo>
                  <a:cubicBezTo>
                    <a:pt x="5152" y="4310"/>
                    <a:pt x="4922" y="4540"/>
                    <a:pt x="4637" y="4540"/>
                  </a:cubicBezTo>
                  <a:cubicBezTo>
                    <a:pt x="4353" y="4540"/>
                    <a:pt x="4119" y="4310"/>
                    <a:pt x="4122" y="4025"/>
                  </a:cubicBezTo>
                  <a:lnTo>
                    <a:pt x="4122" y="1443"/>
                  </a:lnTo>
                  <a:cubicBezTo>
                    <a:pt x="4119" y="1178"/>
                    <a:pt x="3908" y="960"/>
                    <a:pt x="3643" y="960"/>
                  </a:cubicBezTo>
                  <a:lnTo>
                    <a:pt x="1131" y="960"/>
                  </a:lnTo>
                  <a:cubicBezTo>
                    <a:pt x="1077" y="960"/>
                    <a:pt x="1030" y="1006"/>
                    <a:pt x="1034" y="1061"/>
                  </a:cubicBezTo>
                  <a:lnTo>
                    <a:pt x="1034" y="4025"/>
                  </a:lnTo>
                  <a:cubicBezTo>
                    <a:pt x="1034" y="4310"/>
                    <a:pt x="800" y="4540"/>
                    <a:pt x="515" y="4540"/>
                  </a:cubicBezTo>
                  <a:cubicBezTo>
                    <a:pt x="230" y="4540"/>
                    <a:pt x="0" y="4310"/>
                    <a:pt x="0" y="4025"/>
                  </a:cubicBezTo>
                  <a:lnTo>
                    <a:pt x="0" y="98"/>
                  </a:lnTo>
                  <a:cubicBezTo>
                    <a:pt x="0" y="43"/>
                    <a:pt x="47" y="0"/>
                    <a:pt x="9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5154124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ogan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Ryhmä 29"/>
          <p:cNvGrpSpPr/>
          <p:nvPr userDrawn="1"/>
        </p:nvGrpSpPr>
        <p:grpSpPr bwMode="black">
          <a:xfrm>
            <a:off x="3419818" y="2736168"/>
            <a:ext cx="2255268" cy="202408"/>
            <a:chOff x="-78125" y="3294967"/>
            <a:chExt cx="4922674" cy="441804"/>
          </a:xfrm>
          <a:solidFill>
            <a:srgbClr val="001177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black">
            <a:xfrm>
              <a:off x="-78125" y="3298591"/>
              <a:ext cx="233186" cy="339509"/>
            </a:xfrm>
            <a:custGeom>
              <a:avLst/>
              <a:gdLst>
                <a:gd name="T0" fmla="*/ 0 w 2554"/>
                <a:gd name="T1" fmla="*/ 0 h 3691"/>
                <a:gd name="T2" fmla="*/ 0 w 2554"/>
                <a:gd name="T3" fmla="*/ 0 h 3691"/>
                <a:gd name="T4" fmla="*/ 0 w 2554"/>
                <a:gd name="T5" fmla="*/ 413 h 3691"/>
                <a:gd name="T6" fmla="*/ 1031 w 2554"/>
                <a:gd name="T7" fmla="*/ 413 h 3691"/>
                <a:gd name="T8" fmla="*/ 1031 w 2554"/>
                <a:gd name="T9" fmla="*/ 3691 h 3691"/>
                <a:gd name="T10" fmla="*/ 1522 w 2554"/>
                <a:gd name="T11" fmla="*/ 3691 h 3691"/>
                <a:gd name="T12" fmla="*/ 1522 w 2554"/>
                <a:gd name="T13" fmla="*/ 413 h 3691"/>
                <a:gd name="T14" fmla="*/ 2554 w 2554"/>
                <a:gd name="T15" fmla="*/ 413 h 3691"/>
                <a:gd name="T16" fmla="*/ 2554 w 2554"/>
                <a:gd name="T17" fmla="*/ 0 h 3691"/>
                <a:gd name="T18" fmla="*/ 0 w 2554"/>
                <a:gd name="T19" fmla="*/ 0 h 3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54" h="3691">
                  <a:moveTo>
                    <a:pt x="0" y="0"/>
                  </a:moveTo>
                  <a:lnTo>
                    <a:pt x="0" y="0"/>
                  </a:lnTo>
                  <a:lnTo>
                    <a:pt x="0" y="413"/>
                  </a:lnTo>
                  <a:lnTo>
                    <a:pt x="1031" y="413"/>
                  </a:lnTo>
                  <a:lnTo>
                    <a:pt x="1031" y="3691"/>
                  </a:lnTo>
                  <a:lnTo>
                    <a:pt x="1522" y="3691"/>
                  </a:lnTo>
                  <a:lnTo>
                    <a:pt x="1522" y="413"/>
                  </a:lnTo>
                  <a:lnTo>
                    <a:pt x="2554" y="413"/>
                  </a:lnTo>
                  <a:lnTo>
                    <a:pt x="25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black">
            <a:xfrm>
              <a:off x="3849382" y="3392429"/>
              <a:ext cx="341925" cy="245671"/>
            </a:xfrm>
            <a:custGeom>
              <a:avLst/>
              <a:gdLst>
                <a:gd name="T0" fmla="*/ 2889 w 3742"/>
                <a:gd name="T1" fmla="*/ 2673 h 2673"/>
                <a:gd name="T2" fmla="*/ 2889 w 3742"/>
                <a:gd name="T3" fmla="*/ 2673 h 2673"/>
                <a:gd name="T4" fmla="*/ 2424 w 3742"/>
                <a:gd name="T5" fmla="*/ 2673 h 2673"/>
                <a:gd name="T6" fmla="*/ 1882 w 3742"/>
                <a:gd name="T7" fmla="*/ 548 h 2673"/>
                <a:gd name="T8" fmla="*/ 1871 w 3742"/>
                <a:gd name="T9" fmla="*/ 548 h 2673"/>
                <a:gd name="T10" fmla="*/ 1333 w 3742"/>
                <a:gd name="T11" fmla="*/ 2673 h 2673"/>
                <a:gd name="T12" fmla="*/ 858 w 3742"/>
                <a:gd name="T13" fmla="*/ 2673 h 2673"/>
                <a:gd name="T14" fmla="*/ 0 w 3742"/>
                <a:gd name="T15" fmla="*/ 0 h 2673"/>
                <a:gd name="T16" fmla="*/ 486 w 3742"/>
                <a:gd name="T17" fmla="*/ 0 h 2673"/>
                <a:gd name="T18" fmla="*/ 1090 w 3742"/>
                <a:gd name="T19" fmla="*/ 2187 h 2673"/>
                <a:gd name="T20" fmla="*/ 1101 w 3742"/>
                <a:gd name="T21" fmla="*/ 2187 h 2673"/>
                <a:gd name="T22" fmla="*/ 1639 w 3742"/>
                <a:gd name="T23" fmla="*/ 0 h 2673"/>
                <a:gd name="T24" fmla="*/ 2119 w 3742"/>
                <a:gd name="T25" fmla="*/ 0 h 2673"/>
                <a:gd name="T26" fmla="*/ 2678 w 3742"/>
                <a:gd name="T27" fmla="*/ 2187 h 2673"/>
                <a:gd name="T28" fmla="*/ 2688 w 3742"/>
                <a:gd name="T29" fmla="*/ 2187 h 2673"/>
                <a:gd name="T30" fmla="*/ 3288 w 3742"/>
                <a:gd name="T31" fmla="*/ 0 h 2673"/>
                <a:gd name="T32" fmla="*/ 3742 w 3742"/>
                <a:gd name="T33" fmla="*/ 0 h 2673"/>
                <a:gd name="T34" fmla="*/ 2889 w 3742"/>
                <a:gd name="T35" fmla="*/ 2673 h 2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2" h="2673">
                  <a:moveTo>
                    <a:pt x="2889" y="2673"/>
                  </a:moveTo>
                  <a:lnTo>
                    <a:pt x="2889" y="2673"/>
                  </a:lnTo>
                  <a:lnTo>
                    <a:pt x="2424" y="2673"/>
                  </a:lnTo>
                  <a:lnTo>
                    <a:pt x="1882" y="548"/>
                  </a:lnTo>
                  <a:lnTo>
                    <a:pt x="1871" y="548"/>
                  </a:lnTo>
                  <a:lnTo>
                    <a:pt x="1333" y="2673"/>
                  </a:lnTo>
                  <a:lnTo>
                    <a:pt x="858" y="2673"/>
                  </a:lnTo>
                  <a:lnTo>
                    <a:pt x="0" y="0"/>
                  </a:lnTo>
                  <a:lnTo>
                    <a:pt x="486" y="0"/>
                  </a:lnTo>
                  <a:lnTo>
                    <a:pt x="1090" y="2187"/>
                  </a:lnTo>
                  <a:lnTo>
                    <a:pt x="1101" y="2187"/>
                  </a:lnTo>
                  <a:lnTo>
                    <a:pt x="1639" y="0"/>
                  </a:lnTo>
                  <a:lnTo>
                    <a:pt x="2119" y="0"/>
                  </a:lnTo>
                  <a:lnTo>
                    <a:pt x="2678" y="2187"/>
                  </a:lnTo>
                  <a:lnTo>
                    <a:pt x="2688" y="2187"/>
                  </a:lnTo>
                  <a:lnTo>
                    <a:pt x="3288" y="0"/>
                  </a:lnTo>
                  <a:lnTo>
                    <a:pt x="3742" y="0"/>
                  </a:lnTo>
                  <a:lnTo>
                    <a:pt x="2889" y="26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black">
            <a:xfrm>
              <a:off x="4612974" y="3298591"/>
              <a:ext cx="231575" cy="345147"/>
            </a:xfrm>
            <a:custGeom>
              <a:avLst/>
              <a:gdLst>
                <a:gd name="T0" fmla="*/ 1292 w 2533"/>
                <a:gd name="T1" fmla="*/ 3365 h 3753"/>
                <a:gd name="T2" fmla="*/ 1292 w 2533"/>
                <a:gd name="T3" fmla="*/ 3365 h 3753"/>
                <a:gd name="T4" fmla="*/ 2108 w 2533"/>
                <a:gd name="T5" fmla="*/ 2357 h 3753"/>
                <a:gd name="T6" fmla="*/ 1266 w 2533"/>
                <a:gd name="T7" fmla="*/ 1344 h 3753"/>
                <a:gd name="T8" fmla="*/ 465 w 2533"/>
                <a:gd name="T9" fmla="*/ 2378 h 3753"/>
                <a:gd name="T10" fmla="*/ 1292 w 2533"/>
                <a:gd name="T11" fmla="*/ 3365 h 3753"/>
                <a:gd name="T12" fmla="*/ 2533 w 2533"/>
                <a:gd name="T13" fmla="*/ 3691 h 3753"/>
                <a:gd name="T14" fmla="*/ 2533 w 2533"/>
                <a:gd name="T15" fmla="*/ 3691 h 3753"/>
                <a:gd name="T16" fmla="*/ 2093 w 2533"/>
                <a:gd name="T17" fmla="*/ 3691 h 3753"/>
                <a:gd name="T18" fmla="*/ 2093 w 2533"/>
                <a:gd name="T19" fmla="*/ 3328 h 3753"/>
                <a:gd name="T20" fmla="*/ 2083 w 2533"/>
                <a:gd name="T21" fmla="*/ 3328 h 3753"/>
                <a:gd name="T22" fmla="*/ 1230 w 2533"/>
                <a:gd name="T23" fmla="*/ 3753 h 3753"/>
                <a:gd name="T24" fmla="*/ 0 w 2533"/>
                <a:gd name="T25" fmla="*/ 2346 h 3753"/>
                <a:gd name="T26" fmla="*/ 1219 w 2533"/>
                <a:gd name="T27" fmla="*/ 956 h 3753"/>
                <a:gd name="T28" fmla="*/ 2083 w 2533"/>
                <a:gd name="T29" fmla="*/ 1375 h 3753"/>
                <a:gd name="T30" fmla="*/ 2093 w 2533"/>
                <a:gd name="T31" fmla="*/ 1375 h 3753"/>
                <a:gd name="T32" fmla="*/ 2093 w 2533"/>
                <a:gd name="T33" fmla="*/ 0 h 3753"/>
                <a:gd name="T34" fmla="*/ 2533 w 2533"/>
                <a:gd name="T35" fmla="*/ 0 h 3753"/>
                <a:gd name="T36" fmla="*/ 2533 w 2533"/>
                <a:gd name="T37" fmla="*/ 3691 h 3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33" h="3753">
                  <a:moveTo>
                    <a:pt x="1292" y="3365"/>
                  </a:moveTo>
                  <a:lnTo>
                    <a:pt x="1292" y="3365"/>
                  </a:lnTo>
                  <a:cubicBezTo>
                    <a:pt x="1881" y="3365"/>
                    <a:pt x="2108" y="2858"/>
                    <a:pt x="2108" y="2357"/>
                  </a:cubicBezTo>
                  <a:cubicBezTo>
                    <a:pt x="2108" y="1830"/>
                    <a:pt x="1871" y="1344"/>
                    <a:pt x="1266" y="1344"/>
                  </a:cubicBezTo>
                  <a:cubicBezTo>
                    <a:pt x="666" y="1344"/>
                    <a:pt x="465" y="1855"/>
                    <a:pt x="465" y="2378"/>
                  </a:cubicBezTo>
                  <a:cubicBezTo>
                    <a:pt x="465" y="2879"/>
                    <a:pt x="724" y="3365"/>
                    <a:pt x="1292" y="3365"/>
                  </a:cubicBezTo>
                  <a:close/>
                  <a:moveTo>
                    <a:pt x="2533" y="3691"/>
                  </a:moveTo>
                  <a:lnTo>
                    <a:pt x="2533" y="3691"/>
                  </a:lnTo>
                  <a:lnTo>
                    <a:pt x="2093" y="3691"/>
                  </a:lnTo>
                  <a:lnTo>
                    <a:pt x="2093" y="3328"/>
                  </a:lnTo>
                  <a:lnTo>
                    <a:pt x="2083" y="3328"/>
                  </a:lnTo>
                  <a:cubicBezTo>
                    <a:pt x="1938" y="3623"/>
                    <a:pt x="1597" y="3753"/>
                    <a:pt x="1230" y="3753"/>
                  </a:cubicBezTo>
                  <a:cubicBezTo>
                    <a:pt x="408" y="3753"/>
                    <a:pt x="0" y="3102"/>
                    <a:pt x="0" y="2346"/>
                  </a:cubicBezTo>
                  <a:cubicBezTo>
                    <a:pt x="0" y="1592"/>
                    <a:pt x="403" y="956"/>
                    <a:pt x="1219" y="956"/>
                  </a:cubicBezTo>
                  <a:cubicBezTo>
                    <a:pt x="1494" y="956"/>
                    <a:pt x="1887" y="1059"/>
                    <a:pt x="2083" y="1375"/>
                  </a:cubicBezTo>
                  <a:lnTo>
                    <a:pt x="2093" y="1375"/>
                  </a:lnTo>
                  <a:lnTo>
                    <a:pt x="2093" y="0"/>
                  </a:lnTo>
                  <a:lnTo>
                    <a:pt x="2533" y="0"/>
                  </a:lnTo>
                  <a:lnTo>
                    <a:pt x="2533" y="36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black">
            <a:xfrm>
              <a:off x="4468391" y="3385180"/>
              <a:ext cx="128474" cy="252920"/>
            </a:xfrm>
            <a:custGeom>
              <a:avLst/>
              <a:gdLst>
                <a:gd name="T0" fmla="*/ 0 w 1406"/>
                <a:gd name="T1" fmla="*/ 78 h 2751"/>
                <a:gd name="T2" fmla="*/ 0 w 1406"/>
                <a:gd name="T3" fmla="*/ 78 h 2751"/>
                <a:gd name="T4" fmla="*/ 414 w 1406"/>
                <a:gd name="T5" fmla="*/ 78 h 2751"/>
                <a:gd name="T6" fmla="*/ 414 w 1406"/>
                <a:gd name="T7" fmla="*/ 641 h 2751"/>
                <a:gd name="T8" fmla="*/ 424 w 1406"/>
                <a:gd name="T9" fmla="*/ 641 h 2751"/>
                <a:gd name="T10" fmla="*/ 1406 w 1406"/>
                <a:gd name="T11" fmla="*/ 16 h 2751"/>
                <a:gd name="T12" fmla="*/ 1406 w 1406"/>
                <a:gd name="T13" fmla="*/ 481 h 2751"/>
                <a:gd name="T14" fmla="*/ 439 w 1406"/>
                <a:gd name="T15" fmla="*/ 1562 h 2751"/>
                <a:gd name="T16" fmla="*/ 439 w 1406"/>
                <a:gd name="T17" fmla="*/ 2751 h 2751"/>
                <a:gd name="T18" fmla="*/ 0 w 1406"/>
                <a:gd name="T19" fmla="*/ 2751 h 2751"/>
                <a:gd name="T20" fmla="*/ 0 w 1406"/>
                <a:gd name="T21" fmla="*/ 78 h 2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6" h="2751">
                  <a:moveTo>
                    <a:pt x="0" y="78"/>
                  </a:moveTo>
                  <a:lnTo>
                    <a:pt x="0" y="78"/>
                  </a:lnTo>
                  <a:lnTo>
                    <a:pt x="414" y="78"/>
                  </a:lnTo>
                  <a:lnTo>
                    <a:pt x="414" y="641"/>
                  </a:lnTo>
                  <a:lnTo>
                    <a:pt x="424" y="641"/>
                  </a:lnTo>
                  <a:cubicBezTo>
                    <a:pt x="636" y="212"/>
                    <a:pt x="930" y="0"/>
                    <a:pt x="1406" y="16"/>
                  </a:cubicBezTo>
                  <a:lnTo>
                    <a:pt x="1406" y="481"/>
                  </a:lnTo>
                  <a:cubicBezTo>
                    <a:pt x="698" y="481"/>
                    <a:pt x="439" y="884"/>
                    <a:pt x="439" y="1562"/>
                  </a:cubicBezTo>
                  <a:lnTo>
                    <a:pt x="439" y="2751"/>
                  </a:lnTo>
                  <a:lnTo>
                    <a:pt x="0" y="2751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black">
            <a:xfrm>
              <a:off x="4196140" y="3386791"/>
              <a:ext cx="229561" cy="256947"/>
            </a:xfrm>
            <a:custGeom>
              <a:avLst/>
              <a:gdLst>
                <a:gd name="T0" fmla="*/ 1799 w 2512"/>
                <a:gd name="T1" fmla="*/ 1354 h 2797"/>
                <a:gd name="T2" fmla="*/ 1799 w 2512"/>
                <a:gd name="T3" fmla="*/ 1354 h 2797"/>
                <a:gd name="T4" fmla="*/ 1003 w 2512"/>
                <a:gd name="T5" fmla="*/ 1535 h 2797"/>
                <a:gd name="T6" fmla="*/ 465 w 2512"/>
                <a:gd name="T7" fmla="*/ 2016 h 2797"/>
                <a:gd name="T8" fmla="*/ 983 w 2512"/>
                <a:gd name="T9" fmla="*/ 2409 h 2797"/>
                <a:gd name="T10" fmla="*/ 1799 w 2512"/>
                <a:gd name="T11" fmla="*/ 1804 h 2797"/>
                <a:gd name="T12" fmla="*/ 1799 w 2512"/>
                <a:gd name="T13" fmla="*/ 1354 h 2797"/>
                <a:gd name="T14" fmla="*/ 2512 w 2512"/>
                <a:gd name="T15" fmla="*/ 2724 h 2797"/>
                <a:gd name="T16" fmla="*/ 2512 w 2512"/>
                <a:gd name="T17" fmla="*/ 2724 h 2797"/>
                <a:gd name="T18" fmla="*/ 2198 w 2512"/>
                <a:gd name="T19" fmla="*/ 2797 h 2797"/>
                <a:gd name="T20" fmla="*/ 1825 w 2512"/>
                <a:gd name="T21" fmla="*/ 2383 h 2797"/>
                <a:gd name="T22" fmla="*/ 884 w 2512"/>
                <a:gd name="T23" fmla="*/ 2797 h 2797"/>
                <a:gd name="T24" fmla="*/ 0 w 2512"/>
                <a:gd name="T25" fmla="*/ 2047 h 2797"/>
                <a:gd name="T26" fmla="*/ 905 w 2512"/>
                <a:gd name="T27" fmla="*/ 1225 h 2797"/>
                <a:gd name="T28" fmla="*/ 1804 w 2512"/>
                <a:gd name="T29" fmla="*/ 832 h 2797"/>
                <a:gd name="T30" fmla="*/ 1209 w 2512"/>
                <a:gd name="T31" fmla="*/ 388 h 2797"/>
                <a:gd name="T32" fmla="*/ 543 w 2512"/>
                <a:gd name="T33" fmla="*/ 894 h 2797"/>
                <a:gd name="T34" fmla="*/ 104 w 2512"/>
                <a:gd name="T35" fmla="*/ 894 h 2797"/>
                <a:gd name="T36" fmla="*/ 1236 w 2512"/>
                <a:gd name="T37" fmla="*/ 0 h 2797"/>
                <a:gd name="T38" fmla="*/ 2239 w 2512"/>
                <a:gd name="T39" fmla="*/ 734 h 2797"/>
                <a:gd name="T40" fmla="*/ 2239 w 2512"/>
                <a:gd name="T41" fmla="*/ 2109 h 2797"/>
                <a:gd name="T42" fmla="*/ 2378 w 2512"/>
                <a:gd name="T43" fmla="*/ 2409 h 2797"/>
                <a:gd name="T44" fmla="*/ 2512 w 2512"/>
                <a:gd name="T45" fmla="*/ 2383 h 2797"/>
                <a:gd name="T46" fmla="*/ 2512 w 2512"/>
                <a:gd name="T47" fmla="*/ 2724 h 2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12" h="2797">
                  <a:moveTo>
                    <a:pt x="1799" y="1354"/>
                  </a:moveTo>
                  <a:lnTo>
                    <a:pt x="1799" y="1354"/>
                  </a:lnTo>
                  <a:cubicBezTo>
                    <a:pt x="1628" y="1479"/>
                    <a:pt x="1297" y="1483"/>
                    <a:pt x="1003" y="1535"/>
                  </a:cubicBezTo>
                  <a:cubicBezTo>
                    <a:pt x="714" y="1587"/>
                    <a:pt x="465" y="1690"/>
                    <a:pt x="465" y="2016"/>
                  </a:cubicBezTo>
                  <a:cubicBezTo>
                    <a:pt x="465" y="2306"/>
                    <a:pt x="714" y="2409"/>
                    <a:pt x="983" y="2409"/>
                  </a:cubicBezTo>
                  <a:cubicBezTo>
                    <a:pt x="1562" y="2409"/>
                    <a:pt x="1799" y="2047"/>
                    <a:pt x="1799" y="1804"/>
                  </a:cubicBezTo>
                  <a:lnTo>
                    <a:pt x="1799" y="1354"/>
                  </a:lnTo>
                  <a:close/>
                  <a:moveTo>
                    <a:pt x="2512" y="2724"/>
                  </a:moveTo>
                  <a:lnTo>
                    <a:pt x="2512" y="2724"/>
                  </a:lnTo>
                  <a:cubicBezTo>
                    <a:pt x="2435" y="2771"/>
                    <a:pt x="2337" y="2797"/>
                    <a:pt x="2198" y="2797"/>
                  </a:cubicBezTo>
                  <a:cubicBezTo>
                    <a:pt x="1970" y="2797"/>
                    <a:pt x="1825" y="2673"/>
                    <a:pt x="1825" y="2383"/>
                  </a:cubicBezTo>
                  <a:cubicBezTo>
                    <a:pt x="1582" y="2667"/>
                    <a:pt x="1256" y="2797"/>
                    <a:pt x="884" y="2797"/>
                  </a:cubicBezTo>
                  <a:cubicBezTo>
                    <a:pt x="398" y="2797"/>
                    <a:pt x="0" y="2580"/>
                    <a:pt x="0" y="2047"/>
                  </a:cubicBezTo>
                  <a:cubicBezTo>
                    <a:pt x="0" y="1442"/>
                    <a:pt x="450" y="1313"/>
                    <a:pt x="905" y="1225"/>
                  </a:cubicBezTo>
                  <a:cubicBezTo>
                    <a:pt x="1391" y="1132"/>
                    <a:pt x="1804" y="1163"/>
                    <a:pt x="1804" y="832"/>
                  </a:cubicBezTo>
                  <a:cubicBezTo>
                    <a:pt x="1804" y="450"/>
                    <a:pt x="1489" y="388"/>
                    <a:pt x="1209" y="388"/>
                  </a:cubicBezTo>
                  <a:cubicBezTo>
                    <a:pt x="838" y="388"/>
                    <a:pt x="564" y="501"/>
                    <a:pt x="543" y="894"/>
                  </a:cubicBezTo>
                  <a:lnTo>
                    <a:pt x="104" y="894"/>
                  </a:lnTo>
                  <a:cubicBezTo>
                    <a:pt x="129" y="232"/>
                    <a:pt x="641" y="0"/>
                    <a:pt x="1236" y="0"/>
                  </a:cubicBezTo>
                  <a:cubicBezTo>
                    <a:pt x="1717" y="0"/>
                    <a:pt x="2239" y="108"/>
                    <a:pt x="2239" y="734"/>
                  </a:cubicBezTo>
                  <a:lnTo>
                    <a:pt x="2239" y="2109"/>
                  </a:lnTo>
                  <a:cubicBezTo>
                    <a:pt x="2239" y="2316"/>
                    <a:pt x="2239" y="2409"/>
                    <a:pt x="2378" y="2409"/>
                  </a:cubicBezTo>
                  <a:cubicBezTo>
                    <a:pt x="2415" y="2409"/>
                    <a:pt x="2456" y="2404"/>
                    <a:pt x="2512" y="2383"/>
                  </a:cubicBezTo>
                  <a:lnTo>
                    <a:pt x="2512" y="27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black">
            <a:xfrm>
              <a:off x="3701980" y="3385180"/>
              <a:ext cx="128474" cy="252920"/>
            </a:xfrm>
            <a:custGeom>
              <a:avLst/>
              <a:gdLst>
                <a:gd name="T0" fmla="*/ 0 w 1406"/>
                <a:gd name="T1" fmla="*/ 78 h 2751"/>
                <a:gd name="T2" fmla="*/ 0 w 1406"/>
                <a:gd name="T3" fmla="*/ 78 h 2751"/>
                <a:gd name="T4" fmla="*/ 414 w 1406"/>
                <a:gd name="T5" fmla="*/ 78 h 2751"/>
                <a:gd name="T6" fmla="*/ 414 w 1406"/>
                <a:gd name="T7" fmla="*/ 641 h 2751"/>
                <a:gd name="T8" fmla="*/ 424 w 1406"/>
                <a:gd name="T9" fmla="*/ 641 h 2751"/>
                <a:gd name="T10" fmla="*/ 1406 w 1406"/>
                <a:gd name="T11" fmla="*/ 16 h 2751"/>
                <a:gd name="T12" fmla="*/ 1406 w 1406"/>
                <a:gd name="T13" fmla="*/ 481 h 2751"/>
                <a:gd name="T14" fmla="*/ 440 w 1406"/>
                <a:gd name="T15" fmla="*/ 1562 h 2751"/>
                <a:gd name="T16" fmla="*/ 440 w 1406"/>
                <a:gd name="T17" fmla="*/ 2751 h 2751"/>
                <a:gd name="T18" fmla="*/ 0 w 1406"/>
                <a:gd name="T19" fmla="*/ 2751 h 2751"/>
                <a:gd name="T20" fmla="*/ 0 w 1406"/>
                <a:gd name="T21" fmla="*/ 78 h 2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6" h="2751">
                  <a:moveTo>
                    <a:pt x="0" y="78"/>
                  </a:moveTo>
                  <a:lnTo>
                    <a:pt x="0" y="78"/>
                  </a:lnTo>
                  <a:lnTo>
                    <a:pt x="414" y="78"/>
                  </a:lnTo>
                  <a:lnTo>
                    <a:pt x="414" y="641"/>
                  </a:lnTo>
                  <a:lnTo>
                    <a:pt x="424" y="641"/>
                  </a:lnTo>
                  <a:cubicBezTo>
                    <a:pt x="637" y="213"/>
                    <a:pt x="931" y="0"/>
                    <a:pt x="1406" y="16"/>
                  </a:cubicBezTo>
                  <a:lnTo>
                    <a:pt x="1406" y="481"/>
                  </a:lnTo>
                  <a:cubicBezTo>
                    <a:pt x="698" y="481"/>
                    <a:pt x="440" y="884"/>
                    <a:pt x="440" y="1562"/>
                  </a:cubicBezTo>
                  <a:lnTo>
                    <a:pt x="440" y="2751"/>
                  </a:lnTo>
                  <a:lnTo>
                    <a:pt x="0" y="2751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black">
            <a:xfrm>
              <a:off x="3420063" y="3386791"/>
              <a:ext cx="237213" cy="256947"/>
            </a:xfrm>
            <a:custGeom>
              <a:avLst/>
              <a:gdLst>
                <a:gd name="T0" fmla="*/ 1297 w 2595"/>
                <a:gd name="T1" fmla="*/ 2409 h 2797"/>
                <a:gd name="T2" fmla="*/ 1297 w 2595"/>
                <a:gd name="T3" fmla="*/ 2409 h 2797"/>
                <a:gd name="T4" fmla="*/ 2129 w 2595"/>
                <a:gd name="T5" fmla="*/ 1401 h 2797"/>
                <a:gd name="T6" fmla="*/ 1297 w 2595"/>
                <a:gd name="T7" fmla="*/ 388 h 2797"/>
                <a:gd name="T8" fmla="*/ 465 w 2595"/>
                <a:gd name="T9" fmla="*/ 1401 h 2797"/>
                <a:gd name="T10" fmla="*/ 1297 w 2595"/>
                <a:gd name="T11" fmla="*/ 2409 h 2797"/>
                <a:gd name="T12" fmla="*/ 1297 w 2595"/>
                <a:gd name="T13" fmla="*/ 0 h 2797"/>
                <a:gd name="T14" fmla="*/ 1297 w 2595"/>
                <a:gd name="T15" fmla="*/ 0 h 2797"/>
                <a:gd name="T16" fmla="*/ 2595 w 2595"/>
                <a:gd name="T17" fmla="*/ 1401 h 2797"/>
                <a:gd name="T18" fmla="*/ 1297 w 2595"/>
                <a:gd name="T19" fmla="*/ 2797 h 2797"/>
                <a:gd name="T20" fmla="*/ 0 w 2595"/>
                <a:gd name="T21" fmla="*/ 1401 h 2797"/>
                <a:gd name="T22" fmla="*/ 1297 w 2595"/>
                <a:gd name="T23" fmla="*/ 0 h 2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5" h="2797">
                  <a:moveTo>
                    <a:pt x="1297" y="2409"/>
                  </a:moveTo>
                  <a:lnTo>
                    <a:pt x="1297" y="2409"/>
                  </a:lnTo>
                  <a:cubicBezTo>
                    <a:pt x="1758" y="2409"/>
                    <a:pt x="2129" y="2047"/>
                    <a:pt x="2129" y="1401"/>
                  </a:cubicBezTo>
                  <a:cubicBezTo>
                    <a:pt x="2129" y="749"/>
                    <a:pt x="1758" y="388"/>
                    <a:pt x="1297" y="388"/>
                  </a:cubicBezTo>
                  <a:cubicBezTo>
                    <a:pt x="837" y="388"/>
                    <a:pt x="465" y="749"/>
                    <a:pt x="465" y="1401"/>
                  </a:cubicBezTo>
                  <a:cubicBezTo>
                    <a:pt x="465" y="2047"/>
                    <a:pt x="837" y="2409"/>
                    <a:pt x="1297" y="2409"/>
                  </a:cubicBezTo>
                  <a:close/>
                  <a:moveTo>
                    <a:pt x="1297" y="0"/>
                  </a:moveTo>
                  <a:lnTo>
                    <a:pt x="1297" y="0"/>
                  </a:lnTo>
                  <a:cubicBezTo>
                    <a:pt x="2145" y="0"/>
                    <a:pt x="2595" y="615"/>
                    <a:pt x="2595" y="1401"/>
                  </a:cubicBezTo>
                  <a:cubicBezTo>
                    <a:pt x="2595" y="2182"/>
                    <a:pt x="2145" y="2797"/>
                    <a:pt x="1297" y="2797"/>
                  </a:cubicBezTo>
                  <a:cubicBezTo>
                    <a:pt x="450" y="2797"/>
                    <a:pt x="0" y="2182"/>
                    <a:pt x="0" y="1401"/>
                  </a:cubicBezTo>
                  <a:cubicBezTo>
                    <a:pt x="0" y="615"/>
                    <a:pt x="450" y="0"/>
                    <a:pt x="129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black">
            <a:xfrm>
              <a:off x="3270244" y="3294967"/>
              <a:ext cx="134515" cy="343133"/>
            </a:xfrm>
            <a:custGeom>
              <a:avLst/>
              <a:gdLst>
                <a:gd name="T0" fmla="*/ 450 w 1474"/>
                <a:gd name="T1" fmla="*/ 1447 h 3733"/>
                <a:gd name="T2" fmla="*/ 450 w 1474"/>
                <a:gd name="T3" fmla="*/ 1447 h 3733"/>
                <a:gd name="T4" fmla="*/ 0 w 1474"/>
                <a:gd name="T5" fmla="*/ 1447 h 3733"/>
                <a:gd name="T6" fmla="*/ 0 w 1474"/>
                <a:gd name="T7" fmla="*/ 1060 h 3733"/>
                <a:gd name="T8" fmla="*/ 450 w 1474"/>
                <a:gd name="T9" fmla="*/ 1060 h 3733"/>
                <a:gd name="T10" fmla="*/ 450 w 1474"/>
                <a:gd name="T11" fmla="*/ 662 h 3733"/>
                <a:gd name="T12" fmla="*/ 1190 w 1474"/>
                <a:gd name="T13" fmla="*/ 0 h 3733"/>
                <a:gd name="T14" fmla="*/ 1474 w 1474"/>
                <a:gd name="T15" fmla="*/ 42 h 3733"/>
                <a:gd name="T16" fmla="*/ 1474 w 1474"/>
                <a:gd name="T17" fmla="*/ 424 h 3733"/>
                <a:gd name="T18" fmla="*/ 1226 w 1474"/>
                <a:gd name="T19" fmla="*/ 388 h 3733"/>
                <a:gd name="T20" fmla="*/ 890 w 1474"/>
                <a:gd name="T21" fmla="*/ 688 h 3733"/>
                <a:gd name="T22" fmla="*/ 890 w 1474"/>
                <a:gd name="T23" fmla="*/ 1060 h 3733"/>
                <a:gd name="T24" fmla="*/ 1407 w 1474"/>
                <a:gd name="T25" fmla="*/ 1060 h 3733"/>
                <a:gd name="T26" fmla="*/ 1407 w 1474"/>
                <a:gd name="T27" fmla="*/ 1447 h 3733"/>
                <a:gd name="T28" fmla="*/ 890 w 1474"/>
                <a:gd name="T29" fmla="*/ 1447 h 3733"/>
                <a:gd name="T30" fmla="*/ 890 w 1474"/>
                <a:gd name="T31" fmla="*/ 3733 h 3733"/>
                <a:gd name="T32" fmla="*/ 450 w 1474"/>
                <a:gd name="T33" fmla="*/ 3733 h 3733"/>
                <a:gd name="T34" fmla="*/ 450 w 1474"/>
                <a:gd name="T35" fmla="*/ 1447 h 3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74" h="3733">
                  <a:moveTo>
                    <a:pt x="450" y="1447"/>
                  </a:moveTo>
                  <a:lnTo>
                    <a:pt x="450" y="1447"/>
                  </a:lnTo>
                  <a:lnTo>
                    <a:pt x="0" y="1447"/>
                  </a:lnTo>
                  <a:lnTo>
                    <a:pt x="0" y="1060"/>
                  </a:lnTo>
                  <a:lnTo>
                    <a:pt x="450" y="1060"/>
                  </a:lnTo>
                  <a:lnTo>
                    <a:pt x="450" y="662"/>
                  </a:lnTo>
                  <a:cubicBezTo>
                    <a:pt x="450" y="228"/>
                    <a:pt x="709" y="0"/>
                    <a:pt x="1190" y="0"/>
                  </a:cubicBezTo>
                  <a:cubicBezTo>
                    <a:pt x="1272" y="0"/>
                    <a:pt x="1391" y="16"/>
                    <a:pt x="1474" y="42"/>
                  </a:cubicBezTo>
                  <a:lnTo>
                    <a:pt x="1474" y="424"/>
                  </a:lnTo>
                  <a:cubicBezTo>
                    <a:pt x="1397" y="398"/>
                    <a:pt x="1303" y="388"/>
                    <a:pt x="1226" y="388"/>
                  </a:cubicBezTo>
                  <a:cubicBezTo>
                    <a:pt x="1014" y="388"/>
                    <a:pt x="890" y="455"/>
                    <a:pt x="890" y="688"/>
                  </a:cubicBezTo>
                  <a:lnTo>
                    <a:pt x="890" y="1060"/>
                  </a:lnTo>
                  <a:lnTo>
                    <a:pt x="1407" y="1060"/>
                  </a:lnTo>
                  <a:lnTo>
                    <a:pt x="1407" y="1447"/>
                  </a:lnTo>
                  <a:lnTo>
                    <a:pt x="890" y="1447"/>
                  </a:lnTo>
                  <a:lnTo>
                    <a:pt x="890" y="3733"/>
                  </a:lnTo>
                  <a:lnTo>
                    <a:pt x="450" y="3733"/>
                  </a:lnTo>
                  <a:lnTo>
                    <a:pt x="450" y="14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black">
            <a:xfrm>
              <a:off x="2895294" y="3386791"/>
              <a:ext cx="207410" cy="256947"/>
            </a:xfrm>
            <a:custGeom>
              <a:avLst/>
              <a:gdLst>
                <a:gd name="T0" fmla="*/ 439 w 2269"/>
                <a:gd name="T1" fmla="*/ 1892 h 2797"/>
                <a:gd name="T2" fmla="*/ 439 w 2269"/>
                <a:gd name="T3" fmla="*/ 1892 h 2797"/>
                <a:gd name="T4" fmla="*/ 1158 w 2269"/>
                <a:gd name="T5" fmla="*/ 2409 h 2797"/>
                <a:gd name="T6" fmla="*/ 1804 w 2269"/>
                <a:gd name="T7" fmla="*/ 2011 h 2797"/>
                <a:gd name="T8" fmla="*/ 931 w 2269"/>
                <a:gd name="T9" fmla="*/ 1515 h 2797"/>
                <a:gd name="T10" fmla="*/ 57 w 2269"/>
                <a:gd name="T11" fmla="*/ 760 h 2797"/>
                <a:gd name="T12" fmla="*/ 1055 w 2269"/>
                <a:gd name="T13" fmla="*/ 0 h 2797"/>
                <a:gd name="T14" fmla="*/ 2150 w 2269"/>
                <a:gd name="T15" fmla="*/ 837 h 2797"/>
                <a:gd name="T16" fmla="*/ 1712 w 2269"/>
                <a:gd name="T17" fmla="*/ 837 h 2797"/>
                <a:gd name="T18" fmla="*/ 1091 w 2269"/>
                <a:gd name="T19" fmla="*/ 388 h 2797"/>
                <a:gd name="T20" fmla="*/ 522 w 2269"/>
                <a:gd name="T21" fmla="*/ 729 h 2797"/>
                <a:gd name="T22" fmla="*/ 1396 w 2269"/>
                <a:gd name="T23" fmla="*/ 1194 h 2797"/>
                <a:gd name="T24" fmla="*/ 2269 w 2269"/>
                <a:gd name="T25" fmla="*/ 1954 h 2797"/>
                <a:gd name="T26" fmla="*/ 1132 w 2269"/>
                <a:gd name="T27" fmla="*/ 2797 h 2797"/>
                <a:gd name="T28" fmla="*/ 0 w 2269"/>
                <a:gd name="T29" fmla="*/ 1892 h 2797"/>
                <a:gd name="T30" fmla="*/ 439 w 2269"/>
                <a:gd name="T31" fmla="*/ 1892 h 2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69" h="2797">
                  <a:moveTo>
                    <a:pt x="439" y="1892"/>
                  </a:moveTo>
                  <a:lnTo>
                    <a:pt x="439" y="1892"/>
                  </a:lnTo>
                  <a:cubicBezTo>
                    <a:pt x="455" y="2285"/>
                    <a:pt x="796" y="2409"/>
                    <a:pt x="1158" y="2409"/>
                  </a:cubicBezTo>
                  <a:cubicBezTo>
                    <a:pt x="1432" y="2409"/>
                    <a:pt x="1804" y="2347"/>
                    <a:pt x="1804" y="2011"/>
                  </a:cubicBezTo>
                  <a:cubicBezTo>
                    <a:pt x="1804" y="1670"/>
                    <a:pt x="1370" y="1613"/>
                    <a:pt x="931" y="1515"/>
                  </a:cubicBezTo>
                  <a:cubicBezTo>
                    <a:pt x="497" y="1416"/>
                    <a:pt x="57" y="1271"/>
                    <a:pt x="57" y="760"/>
                  </a:cubicBezTo>
                  <a:cubicBezTo>
                    <a:pt x="57" y="222"/>
                    <a:pt x="590" y="0"/>
                    <a:pt x="1055" y="0"/>
                  </a:cubicBezTo>
                  <a:cubicBezTo>
                    <a:pt x="1645" y="0"/>
                    <a:pt x="2114" y="186"/>
                    <a:pt x="2150" y="837"/>
                  </a:cubicBezTo>
                  <a:lnTo>
                    <a:pt x="1712" y="837"/>
                  </a:lnTo>
                  <a:cubicBezTo>
                    <a:pt x="1680" y="496"/>
                    <a:pt x="1380" y="388"/>
                    <a:pt x="1091" y="388"/>
                  </a:cubicBezTo>
                  <a:cubicBezTo>
                    <a:pt x="827" y="388"/>
                    <a:pt x="522" y="460"/>
                    <a:pt x="522" y="729"/>
                  </a:cubicBezTo>
                  <a:cubicBezTo>
                    <a:pt x="522" y="1044"/>
                    <a:pt x="987" y="1096"/>
                    <a:pt x="1396" y="1194"/>
                  </a:cubicBezTo>
                  <a:cubicBezTo>
                    <a:pt x="1835" y="1292"/>
                    <a:pt x="2269" y="1437"/>
                    <a:pt x="2269" y="1954"/>
                  </a:cubicBezTo>
                  <a:cubicBezTo>
                    <a:pt x="2269" y="2590"/>
                    <a:pt x="1675" y="2797"/>
                    <a:pt x="1132" y="2797"/>
                  </a:cubicBezTo>
                  <a:cubicBezTo>
                    <a:pt x="533" y="2797"/>
                    <a:pt x="26" y="2554"/>
                    <a:pt x="0" y="1892"/>
                  </a:cubicBezTo>
                  <a:lnTo>
                    <a:pt x="439" y="18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black">
            <a:xfrm>
              <a:off x="2809511" y="3392429"/>
              <a:ext cx="39871" cy="245671"/>
            </a:xfrm>
            <a:custGeom>
              <a:avLst/>
              <a:gdLst>
                <a:gd name="T0" fmla="*/ 0 w 439"/>
                <a:gd name="T1" fmla="*/ 0 h 2673"/>
                <a:gd name="T2" fmla="*/ 0 w 439"/>
                <a:gd name="T3" fmla="*/ 0 h 2673"/>
                <a:gd name="T4" fmla="*/ 439 w 439"/>
                <a:gd name="T5" fmla="*/ 0 h 2673"/>
                <a:gd name="T6" fmla="*/ 439 w 439"/>
                <a:gd name="T7" fmla="*/ 2673 h 2673"/>
                <a:gd name="T8" fmla="*/ 0 w 439"/>
                <a:gd name="T9" fmla="*/ 2673 h 2673"/>
                <a:gd name="T10" fmla="*/ 0 w 439"/>
                <a:gd name="T11" fmla="*/ 0 h 2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9" h="2673">
                  <a:moveTo>
                    <a:pt x="0" y="0"/>
                  </a:moveTo>
                  <a:lnTo>
                    <a:pt x="0" y="0"/>
                  </a:lnTo>
                  <a:lnTo>
                    <a:pt x="439" y="0"/>
                  </a:lnTo>
                  <a:lnTo>
                    <a:pt x="439" y="2673"/>
                  </a:lnTo>
                  <a:lnTo>
                    <a:pt x="0" y="267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black">
            <a:xfrm>
              <a:off x="2809511" y="3298591"/>
              <a:ext cx="39871" cy="49537"/>
            </a:xfrm>
            <a:custGeom>
              <a:avLst/>
              <a:gdLst>
                <a:gd name="T0" fmla="*/ 439 w 439"/>
                <a:gd name="T1" fmla="*/ 537 h 537"/>
                <a:gd name="T2" fmla="*/ 439 w 439"/>
                <a:gd name="T3" fmla="*/ 537 h 537"/>
                <a:gd name="T4" fmla="*/ 0 w 439"/>
                <a:gd name="T5" fmla="*/ 537 h 537"/>
                <a:gd name="T6" fmla="*/ 0 w 439"/>
                <a:gd name="T7" fmla="*/ 0 h 537"/>
                <a:gd name="T8" fmla="*/ 439 w 439"/>
                <a:gd name="T9" fmla="*/ 0 h 537"/>
                <a:gd name="T10" fmla="*/ 439 w 439"/>
                <a:gd name="T11" fmla="*/ 53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9" h="537">
                  <a:moveTo>
                    <a:pt x="439" y="537"/>
                  </a:moveTo>
                  <a:lnTo>
                    <a:pt x="439" y="537"/>
                  </a:lnTo>
                  <a:lnTo>
                    <a:pt x="0" y="537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5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black">
            <a:xfrm>
              <a:off x="2414827" y="3392429"/>
              <a:ext cx="228756" cy="344342"/>
            </a:xfrm>
            <a:custGeom>
              <a:avLst/>
              <a:gdLst>
                <a:gd name="T0" fmla="*/ 1339 w 2502"/>
                <a:gd name="T1" fmla="*/ 3029 h 3743"/>
                <a:gd name="T2" fmla="*/ 1339 w 2502"/>
                <a:gd name="T3" fmla="*/ 3029 h 3743"/>
                <a:gd name="T4" fmla="*/ 564 w 2502"/>
                <a:gd name="T5" fmla="*/ 3743 h 3743"/>
                <a:gd name="T6" fmla="*/ 259 w 2502"/>
                <a:gd name="T7" fmla="*/ 3696 h 3743"/>
                <a:gd name="T8" fmla="*/ 259 w 2502"/>
                <a:gd name="T9" fmla="*/ 3293 h 3743"/>
                <a:gd name="T10" fmla="*/ 518 w 2502"/>
                <a:gd name="T11" fmla="*/ 3355 h 3743"/>
                <a:gd name="T12" fmla="*/ 879 w 2502"/>
                <a:gd name="T13" fmla="*/ 3112 h 3743"/>
                <a:gd name="T14" fmla="*/ 1060 w 2502"/>
                <a:gd name="T15" fmla="*/ 2657 h 3743"/>
                <a:gd name="T16" fmla="*/ 0 w 2502"/>
                <a:gd name="T17" fmla="*/ 0 h 3743"/>
                <a:gd name="T18" fmla="*/ 497 w 2502"/>
                <a:gd name="T19" fmla="*/ 0 h 3743"/>
                <a:gd name="T20" fmla="*/ 1278 w 2502"/>
                <a:gd name="T21" fmla="*/ 2187 h 3743"/>
                <a:gd name="T22" fmla="*/ 1288 w 2502"/>
                <a:gd name="T23" fmla="*/ 2187 h 3743"/>
                <a:gd name="T24" fmla="*/ 2037 w 2502"/>
                <a:gd name="T25" fmla="*/ 0 h 3743"/>
                <a:gd name="T26" fmla="*/ 2502 w 2502"/>
                <a:gd name="T27" fmla="*/ 0 h 3743"/>
                <a:gd name="T28" fmla="*/ 1339 w 2502"/>
                <a:gd name="T29" fmla="*/ 3029 h 3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02" h="3743">
                  <a:moveTo>
                    <a:pt x="1339" y="3029"/>
                  </a:moveTo>
                  <a:lnTo>
                    <a:pt x="1339" y="3029"/>
                  </a:lnTo>
                  <a:cubicBezTo>
                    <a:pt x="1138" y="3551"/>
                    <a:pt x="956" y="3743"/>
                    <a:pt x="564" y="3743"/>
                  </a:cubicBezTo>
                  <a:cubicBezTo>
                    <a:pt x="460" y="3743"/>
                    <a:pt x="357" y="3733"/>
                    <a:pt x="259" y="3696"/>
                  </a:cubicBezTo>
                  <a:lnTo>
                    <a:pt x="259" y="3293"/>
                  </a:lnTo>
                  <a:cubicBezTo>
                    <a:pt x="341" y="3319"/>
                    <a:pt x="429" y="3355"/>
                    <a:pt x="518" y="3355"/>
                  </a:cubicBezTo>
                  <a:cubicBezTo>
                    <a:pt x="699" y="3355"/>
                    <a:pt x="797" y="3267"/>
                    <a:pt x="879" y="3112"/>
                  </a:cubicBezTo>
                  <a:lnTo>
                    <a:pt x="1060" y="2657"/>
                  </a:lnTo>
                  <a:lnTo>
                    <a:pt x="0" y="0"/>
                  </a:lnTo>
                  <a:lnTo>
                    <a:pt x="497" y="0"/>
                  </a:lnTo>
                  <a:lnTo>
                    <a:pt x="1278" y="2187"/>
                  </a:lnTo>
                  <a:lnTo>
                    <a:pt x="1288" y="2187"/>
                  </a:lnTo>
                  <a:lnTo>
                    <a:pt x="2037" y="0"/>
                  </a:lnTo>
                  <a:lnTo>
                    <a:pt x="2502" y="0"/>
                  </a:lnTo>
                  <a:lnTo>
                    <a:pt x="1339" y="3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black">
            <a:xfrm>
              <a:off x="2174392" y="3386791"/>
              <a:ext cx="229561" cy="256947"/>
            </a:xfrm>
            <a:custGeom>
              <a:avLst/>
              <a:gdLst>
                <a:gd name="T0" fmla="*/ 1799 w 2512"/>
                <a:gd name="T1" fmla="*/ 1354 h 2797"/>
                <a:gd name="T2" fmla="*/ 1799 w 2512"/>
                <a:gd name="T3" fmla="*/ 1354 h 2797"/>
                <a:gd name="T4" fmla="*/ 1003 w 2512"/>
                <a:gd name="T5" fmla="*/ 1535 h 2797"/>
                <a:gd name="T6" fmla="*/ 465 w 2512"/>
                <a:gd name="T7" fmla="*/ 2016 h 2797"/>
                <a:gd name="T8" fmla="*/ 982 w 2512"/>
                <a:gd name="T9" fmla="*/ 2409 h 2797"/>
                <a:gd name="T10" fmla="*/ 1799 w 2512"/>
                <a:gd name="T11" fmla="*/ 1804 h 2797"/>
                <a:gd name="T12" fmla="*/ 1799 w 2512"/>
                <a:gd name="T13" fmla="*/ 1354 h 2797"/>
                <a:gd name="T14" fmla="*/ 2512 w 2512"/>
                <a:gd name="T15" fmla="*/ 2724 h 2797"/>
                <a:gd name="T16" fmla="*/ 2512 w 2512"/>
                <a:gd name="T17" fmla="*/ 2724 h 2797"/>
                <a:gd name="T18" fmla="*/ 2196 w 2512"/>
                <a:gd name="T19" fmla="*/ 2797 h 2797"/>
                <a:gd name="T20" fmla="*/ 1824 w 2512"/>
                <a:gd name="T21" fmla="*/ 2383 h 2797"/>
                <a:gd name="T22" fmla="*/ 883 w 2512"/>
                <a:gd name="T23" fmla="*/ 2797 h 2797"/>
                <a:gd name="T24" fmla="*/ 0 w 2512"/>
                <a:gd name="T25" fmla="*/ 2047 h 2797"/>
                <a:gd name="T26" fmla="*/ 904 w 2512"/>
                <a:gd name="T27" fmla="*/ 1225 h 2797"/>
                <a:gd name="T28" fmla="*/ 1804 w 2512"/>
                <a:gd name="T29" fmla="*/ 832 h 2797"/>
                <a:gd name="T30" fmla="*/ 1209 w 2512"/>
                <a:gd name="T31" fmla="*/ 388 h 2797"/>
                <a:gd name="T32" fmla="*/ 543 w 2512"/>
                <a:gd name="T33" fmla="*/ 894 h 2797"/>
                <a:gd name="T34" fmla="*/ 103 w 2512"/>
                <a:gd name="T35" fmla="*/ 894 h 2797"/>
                <a:gd name="T36" fmla="*/ 1235 w 2512"/>
                <a:gd name="T37" fmla="*/ 0 h 2797"/>
                <a:gd name="T38" fmla="*/ 2238 w 2512"/>
                <a:gd name="T39" fmla="*/ 734 h 2797"/>
                <a:gd name="T40" fmla="*/ 2238 w 2512"/>
                <a:gd name="T41" fmla="*/ 2109 h 2797"/>
                <a:gd name="T42" fmla="*/ 2378 w 2512"/>
                <a:gd name="T43" fmla="*/ 2409 h 2797"/>
                <a:gd name="T44" fmla="*/ 2512 w 2512"/>
                <a:gd name="T45" fmla="*/ 2383 h 2797"/>
                <a:gd name="T46" fmla="*/ 2512 w 2512"/>
                <a:gd name="T47" fmla="*/ 2724 h 2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12" h="2797">
                  <a:moveTo>
                    <a:pt x="1799" y="1354"/>
                  </a:moveTo>
                  <a:lnTo>
                    <a:pt x="1799" y="1354"/>
                  </a:lnTo>
                  <a:cubicBezTo>
                    <a:pt x="1628" y="1479"/>
                    <a:pt x="1297" y="1483"/>
                    <a:pt x="1003" y="1535"/>
                  </a:cubicBezTo>
                  <a:cubicBezTo>
                    <a:pt x="713" y="1587"/>
                    <a:pt x="465" y="1690"/>
                    <a:pt x="465" y="2016"/>
                  </a:cubicBezTo>
                  <a:cubicBezTo>
                    <a:pt x="465" y="2306"/>
                    <a:pt x="713" y="2409"/>
                    <a:pt x="982" y="2409"/>
                  </a:cubicBezTo>
                  <a:cubicBezTo>
                    <a:pt x="1561" y="2409"/>
                    <a:pt x="1799" y="2047"/>
                    <a:pt x="1799" y="1804"/>
                  </a:cubicBezTo>
                  <a:lnTo>
                    <a:pt x="1799" y="1354"/>
                  </a:lnTo>
                  <a:close/>
                  <a:moveTo>
                    <a:pt x="2512" y="2724"/>
                  </a:moveTo>
                  <a:lnTo>
                    <a:pt x="2512" y="2724"/>
                  </a:lnTo>
                  <a:cubicBezTo>
                    <a:pt x="2434" y="2771"/>
                    <a:pt x="2337" y="2797"/>
                    <a:pt x="2196" y="2797"/>
                  </a:cubicBezTo>
                  <a:cubicBezTo>
                    <a:pt x="1969" y="2797"/>
                    <a:pt x="1824" y="2673"/>
                    <a:pt x="1824" y="2383"/>
                  </a:cubicBezTo>
                  <a:cubicBezTo>
                    <a:pt x="1582" y="2667"/>
                    <a:pt x="1256" y="2797"/>
                    <a:pt x="883" y="2797"/>
                  </a:cubicBezTo>
                  <a:cubicBezTo>
                    <a:pt x="398" y="2797"/>
                    <a:pt x="0" y="2580"/>
                    <a:pt x="0" y="2047"/>
                  </a:cubicBezTo>
                  <a:cubicBezTo>
                    <a:pt x="0" y="1442"/>
                    <a:pt x="450" y="1313"/>
                    <a:pt x="904" y="1225"/>
                  </a:cubicBezTo>
                  <a:cubicBezTo>
                    <a:pt x="1391" y="1132"/>
                    <a:pt x="1804" y="1163"/>
                    <a:pt x="1804" y="832"/>
                  </a:cubicBezTo>
                  <a:cubicBezTo>
                    <a:pt x="1804" y="450"/>
                    <a:pt x="1488" y="388"/>
                    <a:pt x="1209" y="388"/>
                  </a:cubicBezTo>
                  <a:cubicBezTo>
                    <a:pt x="837" y="388"/>
                    <a:pt x="563" y="501"/>
                    <a:pt x="543" y="894"/>
                  </a:cubicBezTo>
                  <a:lnTo>
                    <a:pt x="103" y="894"/>
                  </a:lnTo>
                  <a:cubicBezTo>
                    <a:pt x="129" y="232"/>
                    <a:pt x="641" y="0"/>
                    <a:pt x="1235" y="0"/>
                  </a:cubicBezTo>
                  <a:cubicBezTo>
                    <a:pt x="1716" y="0"/>
                    <a:pt x="2238" y="108"/>
                    <a:pt x="2238" y="734"/>
                  </a:cubicBezTo>
                  <a:lnTo>
                    <a:pt x="2238" y="2109"/>
                  </a:lnTo>
                  <a:cubicBezTo>
                    <a:pt x="2238" y="2316"/>
                    <a:pt x="2238" y="2409"/>
                    <a:pt x="2378" y="2409"/>
                  </a:cubicBezTo>
                  <a:cubicBezTo>
                    <a:pt x="2414" y="2409"/>
                    <a:pt x="2455" y="2404"/>
                    <a:pt x="2512" y="2383"/>
                  </a:cubicBezTo>
                  <a:lnTo>
                    <a:pt x="2512" y="27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Freeform 18"/>
            <p:cNvSpPr>
              <a:spLocks/>
            </p:cNvSpPr>
            <p:nvPr userDrawn="1"/>
          </p:nvSpPr>
          <p:spPr bwMode="black">
            <a:xfrm>
              <a:off x="1811122" y="3392429"/>
              <a:ext cx="341925" cy="245671"/>
            </a:xfrm>
            <a:custGeom>
              <a:avLst/>
              <a:gdLst>
                <a:gd name="T0" fmla="*/ 2890 w 3743"/>
                <a:gd name="T1" fmla="*/ 2673 h 2673"/>
                <a:gd name="T2" fmla="*/ 2890 w 3743"/>
                <a:gd name="T3" fmla="*/ 2673 h 2673"/>
                <a:gd name="T4" fmla="*/ 2425 w 3743"/>
                <a:gd name="T5" fmla="*/ 2673 h 2673"/>
                <a:gd name="T6" fmla="*/ 1882 w 3743"/>
                <a:gd name="T7" fmla="*/ 548 h 2673"/>
                <a:gd name="T8" fmla="*/ 1872 w 3743"/>
                <a:gd name="T9" fmla="*/ 548 h 2673"/>
                <a:gd name="T10" fmla="*/ 1334 w 3743"/>
                <a:gd name="T11" fmla="*/ 2673 h 2673"/>
                <a:gd name="T12" fmla="*/ 858 w 3743"/>
                <a:gd name="T13" fmla="*/ 2673 h 2673"/>
                <a:gd name="T14" fmla="*/ 0 w 3743"/>
                <a:gd name="T15" fmla="*/ 0 h 2673"/>
                <a:gd name="T16" fmla="*/ 487 w 3743"/>
                <a:gd name="T17" fmla="*/ 0 h 2673"/>
                <a:gd name="T18" fmla="*/ 1091 w 3743"/>
                <a:gd name="T19" fmla="*/ 2187 h 2673"/>
                <a:gd name="T20" fmla="*/ 1102 w 3743"/>
                <a:gd name="T21" fmla="*/ 2187 h 2673"/>
                <a:gd name="T22" fmla="*/ 1639 w 3743"/>
                <a:gd name="T23" fmla="*/ 0 h 2673"/>
                <a:gd name="T24" fmla="*/ 2120 w 3743"/>
                <a:gd name="T25" fmla="*/ 0 h 2673"/>
                <a:gd name="T26" fmla="*/ 2678 w 3743"/>
                <a:gd name="T27" fmla="*/ 2187 h 2673"/>
                <a:gd name="T28" fmla="*/ 2689 w 3743"/>
                <a:gd name="T29" fmla="*/ 2187 h 2673"/>
                <a:gd name="T30" fmla="*/ 3288 w 3743"/>
                <a:gd name="T31" fmla="*/ 0 h 2673"/>
                <a:gd name="T32" fmla="*/ 3743 w 3743"/>
                <a:gd name="T33" fmla="*/ 0 h 2673"/>
                <a:gd name="T34" fmla="*/ 2890 w 3743"/>
                <a:gd name="T35" fmla="*/ 2673 h 2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3" h="2673">
                  <a:moveTo>
                    <a:pt x="2890" y="2673"/>
                  </a:moveTo>
                  <a:lnTo>
                    <a:pt x="2890" y="2673"/>
                  </a:lnTo>
                  <a:lnTo>
                    <a:pt x="2425" y="2673"/>
                  </a:lnTo>
                  <a:lnTo>
                    <a:pt x="1882" y="548"/>
                  </a:lnTo>
                  <a:lnTo>
                    <a:pt x="1872" y="548"/>
                  </a:lnTo>
                  <a:lnTo>
                    <a:pt x="1334" y="2673"/>
                  </a:lnTo>
                  <a:lnTo>
                    <a:pt x="858" y="2673"/>
                  </a:lnTo>
                  <a:lnTo>
                    <a:pt x="0" y="0"/>
                  </a:lnTo>
                  <a:lnTo>
                    <a:pt x="487" y="0"/>
                  </a:lnTo>
                  <a:lnTo>
                    <a:pt x="1091" y="2187"/>
                  </a:lnTo>
                  <a:lnTo>
                    <a:pt x="1102" y="2187"/>
                  </a:lnTo>
                  <a:lnTo>
                    <a:pt x="1639" y="0"/>
                  </a:lnTo>
                  <a:lnTo>
                    <a:pt x="2120" y="0"/>
                  </a:lnTo>
                  <a:lnTo>
                    <a:pt x="2678" y="2187"/>
                  </a:lnTo>
                  <a:lnTo>
                    <a:pt x="2689" y="2187"/>
                  </a:lnTo>
                  <a:lnTo>
                    <a:pt x="3288" y="0"/>
                  </a:lnTo>
                  <a:lnTo>
                    <a:pt x="3743" y="0"/>
                  </a:lnTo>
                  <a:lnTo>
                    <a:pt x="2890" y="26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black">
            <a:xfrm>
              <a:off x="1439394" y="3392429"/>
              <a:ext cx="228353" cy="344342"/>
            </a:xfrm>
            <a:custGeom>
              <a:avLst/>
              <a:gdLst>
                <a:gd name="T0" fmla="*/ 1338 w 2502"/>
                <a:gd name="T1" fmla="*/ 3029 h 3743"/>
                <a:gd name="T2" fmla="*/ 1338 w 2502"/>
                <a:gd name="T3" fmla="*/ 3029 h 3743"/>
                <a:gd name="T4" fmla="*/ 564 w 2502"/>
                <a:gd name="T5" fmla="*/ 3743 h 3743"/>
                <a:gd name="T6" fmla="*/ 258 w 2502"/>
                <a:gd name="T7" fmla="*/ 3696 h 3743"/>
                <a:gd name="T8" fmla="*/ 258 w 2502"/>
                <a:gd name="T9" fmla="*/ 3293 h 3743"/>
                <a:gd name="T10" fmla="*/ 517 w 2502"/>
                <a:gd name="T11" fmla="*/ 3355 h 3743"/>
                <a:gd name="T12" fmla="*/ 879 w 2502"/>
                <a:gd name="T13" fmla="*/ 3112 h 3743"/>
                <a:gd name="T14" fmla="*/ 1060 w 2502"/>
                <a:gd name="T15" fmla="*/ 2657 h 3743"/>
                <a:gd name="T16" fmla="*/ 0 w 2502"/>
                <a:gd name="T17" fmla="*/ 0 h 3743"/>
                <a:gd name="T18" fmla="*/ 496 w 2502"/>
                <a:gd name="T19" fmla="*/ 0 h 3743"/>
                <a:gd name="T20" fmla="*/ 1277 w 2502"/>
                <a:gd name="T21" fmla="*/ 2187 h 3743"/>
                <a:gd name="T22" fmla="*/ 1287 w 2502"/>
                <a:gd name="T23" fmla="*/ 2187 h 3743"/>
                <a:gd name="T24" fmla="*/ 2037 w 2502"/>
                <a:gd name="T25" fmla="*/ 0 h 3743"/>
                <a:gd name="T26" fmla="*/ 2502 w 2502"/>
                <a:gd name="T27" fmla="*/ 0 h 3743"/>
                <a:gd name="T28" fmla="*/ 1338 w 2502"/>
                <a:gd name="T29" fmla="*/ 3029 h 3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02" h="3743">
                  <a:moveTo>
                    <a:pt x="1338" y="3029"/>
                  </a:moveTo>
                  <a:lnTo>
                    <a:pt x="1338" y="3029"/>
                  </a:lnTo>
                  <a:cubicBezTo>
                    <a:pt x="1137" y="3551"/>
                    <a:pt x="956" y="3743"/>
                    <a:pt x="564" y="3743"/>
                  </a:cubicBezTo>
                  <a:cubicBezTo>
                    <a:pt x="460" y="3743"/>
                    <a:pt x="357" y="3733"/>
                    <a:pt x="258" y="3696"/>
                  </a:cubicBezTo>
                  <a:lnTo>
                    <a:pt x="258" y="3293"/>
                  </a:lnTo>
                  <a:cubicBezTo>
                    <a:pt x="341" y="3319"/>
                    <a:pt x="429" y="3355"/>
                    <a:pt x="517" y="3355"/>
                  </a:cubicBezTo>
                  <a:cubicBezTo>
                    <a:pt x="698" y="3355"/>
                    <a:pt x="796" y="3267"/>
                    <a:pt x="879" y="3112"/>
                  </a:cubicBezTo>
                  <a:lnTo>
                    <a:pt x="1060" y="2657"/>
                  </a:lnTo>
                  <a:lnTo>
                    <a:pt x="0" y="0"/>
                  </a:lnTo>
                  <a:lnTo>
                    <a:pt x="496" y="0"/>
                  </a:lnTo>
                  <a:lnTo>
                    <a:pt x="1277" y="2187"/>
                  </a:lnTo>
                  <a:lnTo>
                    <a:pt x="1287" y="2187"/>
                  </a:lnTo>
                  <a:lnTo>
                    <a:pt x="2037" y="0"/>
                  </a:lnTo>
                  <a:lnTo>
                    <a:pt x="2502" y="0"/>
                  </a:lnTo>
                  <a:lnTo>
                    <a:pt x="1338" y="3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black">
            <a:xfrm>
              <a:off x="1364082" y="3298591"/>
              <a:ext cx="40274" cy="339509"/>
            </a:xfrm>
            <a:custGeom>
              <a:avLst/>
              <a:gdLst>
                <a:gd name="T0" fmla="*/ 0 w 440"/>
                <a:gd name="T1" fmla="*/ 0 h 3691"/>
                <a:gd name="T2" fmla="*/ 0 w 440"/>
                <a:gd name="T3" fmla="*/ 0 h 3691"/>
                <a:gd name="T4" fmla="*/ 440 w 440"/>
                <a:gd name="T5" fmla="*/ 0 h 3691"/>
                <a:gd name="T6" fmla="*/ 440 w 440"/>
                <a:gd name="T7" fmla="*/ 3691 h 3691"/>
                <a:gd name="T8" fmla="*/ 0 w 440"/>
                <a:gd name="T9" fmla="*/ 3691 h 3691"/>
                <a:gd name="T10" fmla="*/ 0 w 440"/>
                <a:gd name="T11" fmla="*/ 0 h 3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0" h="3691">
                  <a:moveTo>
                    <a:pt x="0" y="0"/>
                  </a:moveTo>
                  <a:lnTo>
                    <a:pt x="0" y="0"/>
                  </a:lnTo>
                  <a:lnTo>
                    <a:pt x="440" y="0"/>
                  </a:lnTo>
                  <a:lnTo>
                    <a:pt x="440" y="3691"/>
                  </a:lnTo>
                  <a:lnTo>
                    <a:pt x="0" y="36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21"/>
            <p:cNvSpPr>
              <a:spLocks/>
            </p:cNvSpPr>
            <p:nvPr userDrawn="1"/>
          </p:nvSpPr>
          <p:spPr bwMode="black">
            <a:xfrm>
              <a:off x="1099885" y="3386791"/>
              <a:ext cx="202578" cy="251309"/>
            </a:xfrm>
            <a:custGeom>
              <a:avLst/>
              <a:gdLst>
                <a:gd name="T0" fmla="*/ 0 w 2213"/>
                <a:gd name="T1" fmla="*/ 62 h 2735"/>
                <a:gd name="T2" fmla="*/ 0 w 2213"/>
                <a:gd name="T3" fmla="*/ 62 h 2735"/>
                <a:gd name="T4" fmla="*/ 414 w 2213"/>
                <a:gd name="T5" fmla="*/ 62 h 2735"/>
                <a:gd name="T6" fmla="*/ 414 w 2213"/>
                <a:gd name="T7" fmla="*/ 486 h 2735"/>
                <a:gd name="T8" fmla="*/ 424 w 2213"/>
                <a:gd name="T9" fmla="*/ 486 h 2735"/>
                <a:gd name="T10" fmla="*/ 1292 w 2213"/>
                <a:gd name="T11" fmla="*/ 0 h 2735"/>
                <a:gd name="T12" fmla="*/ 2213 w 2213"/>
                <a:gd name="T13" fmla="*/ 977 h 2735"/>
                <a:gd name="T14" fmla="*/ 2213 w 2213"/>
                <a:gd name="T15" fmla="*/ 2735 h 2735"/>
                <a:gd name="T16" fmla="*/ 1773 w 2213"/>
                <a:gd name="T17" fmla="*/ 2735 h 2735"/>
                <a:gd name="T18" fmla="*/ 1773 w 2213"/>
                <a:gd name="T19" fmla="*/ 925 h 2735"/>
                <a:gd name="T20" fmla="*/ 1230 w 2213"/>
                <a:gd name="T21" fmla="*/ 388 h 2735"/>
                <a:gd name="T22" fmla="*/ 440 w 2213"/>
                <a:gd name="T23" fmla="*/ 1225 h 2735"/>
                <a:gd name="T24" fmla="*/ 440 w 2213"/>
                <a:gd name="T25" fmla="*/ 2735 h 2735"/>
                <a:gd name="T26" fmla="*/ 0 w 2213"/>
                <a:gd name="T27" fmla="*/ 2735 h 2735"/>
                <a:gd name="T28" fmla="*/ 0 w 2213"/>
                <a:gd name="T29" fmla="*/ 62 h 2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3" h="2735">
                  <a:moveTo>
                    <a:pt x="0" y="62"/>
                  </a:moveTo>
                  <a:lnTo>
                    <a:pt x="0" y="62"/>
                  </a:lnTo>
                  <a:lnTo>
                    <a:pt x="414" y="62"/>
                  </a:lnTo>
                  <a:lnTo>
                    <a:pt x="414" y="486"/>
                  </a:lnTo>
                  <a:lnTo>
                    <a:pt x="424" y="486"/>
                  </a:lnTo>
                  <a:cubicBezTo>
                    <a:pt x="610" y="155"/>
                    <a:pt x="910" y="0"/>
                    <a:pt x="1292" y="0"/>
                  </a:cubicBezTo>
                  <a:cubicBezTo>
                    <a:pt x="1996" y="0"/>
                    <a:pt x="2213" y="403"/>
                    <a:pt x="2213" y="977"/>
                  </a:cubicBezTo>
                  <a:lnTo>
                    <a:pt x="2213" y="2735"/>
                  </a:lnTo>
                  <a:lnTo>
                    <a:pt x="1773" y="2735"/>
                  </a:lnTo>
                  <a:lnTo>
                    <a:pt x="1773" y="925"/>
                  </a:lnTo>
                  <a:cubicBezTo>
                    <a:pt x="1773" y="599"/>
                    <a:pt x="1566" y="388"/>
                    <a:pt x="1230" y="388"/>
                  </a:cubicBezTo>
                  <a:cubicBezTo>
                    <a:pt x="698" y="388"/>
                    <a:pt x="440" y="745"/>
                    <a:pt x="440" y="1225"/>
                  </a:cubicBezTo>
                  <a:lnTo>
                    <a:pt x="440" y="2735"/>
                  </a:lnTo>
                  <a:lnTo>
                    <a:pt x="0" y="2735"/>
                  </a:lnTo>
                  <a:lnTo>
                    <a:pt x="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22"/>
            <p:cNvSpPr>
              <a:spLocks noEditPoints="1"/>
            </p:cNvSpPr>
            <p:nvPr userDrawn="1"/>
          </p:nvSpPr>
          <p:spPr bwMode="black">
            <a:xfrm>
              <a:off x="816760" y="3386791"/>
              <a:ext cx="236810" cy="256947"/>
            </a:xfrm>
            <a:custGeom>
              <a:avLst/>
              <a:gdLst>
                <a:gd name="T0" fmla="*/ 1297 w 2595"/>
                <a:gd name="T1" fmla="*/ 2409 h 2797"/>
                <a:gd name="T2" fmla="*/ 1297 w 2595"/>
                <a:gd name="T3" fmla="*/ 2409 h 2797"/>
                <a:gd name="T4" fmla="*/ 2129 w 2595"/>
                <a:gd name="T5" fmla="*/ 1401 h 2797"/>
                <a:gd name="T6" fmla="*/ 1297 w 2595"/>
                <a:gd name="T7" fmla="*/ 388 h 2797"/>
                <a:gd name="T8" fmla="*/ 465 w 2595"/>
                <a:gd name="T9" fmla="*/ 1401 h 2797"/>
                <a:gd name="T10" fmla="*/ 1297 w 2595"/>
                <a:gd name="T11" fmla="*/ 2409 h 2797"/>
                <a:gd name="T12" fmla="*/ 1297 w 2595"/>
                <a:gd name="T13" fmla="*/ 0 h 2797"/>
                <a:gd name="T14" fmla="*/ 1297 w 2595"/>
                <a:gd name="T15" fmla="*/ 0 h 2797"/>
                <a:gd name="T16" fmla="*/ 2595 w 2595"/>
                <a:gd name="T17" fmla="*/ 1401 h 2797"/>
                <a:gd name="T18" fmla="*/ 1297 w 2595"/>
                <a:gd name="T19" fmla="*/ 2797 h 2797"/>
                <a:gd name="T20" fmla="*/ 0 w 2595"/>
                <a:gd name="T21" fmla="*/ 1401 h 2797"/>
                <a:gd name="T22" fmla="*/ 1297 w 2595"/>
                <a:gd name="T23" fmla="*/ 0 h 2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5" h="2797">
                  <a:moveTo>
                    <a:pt x="1297" y="2409"/>
                  </a:moveTo>
                  <a:lnTo>
                    <a:pt x="1297" y="2409"/>
                  </a:lnTo>
                  <a:cubicBezTo>
                    <a:pt x="1758" y="2409"/>
                    <a:pt x="2129" y="2047"/>
                    <a:pt x="2129" y="1401"/>
                  </a:cubicBezTo>
                  <a:cubicBezTo>
                    <a:pt x="2129" y="749"/>
                    <a:pt x="1758" y="388"/>
                    <a:pt x="1297" y="388"/>
                  </a:cubicBezTo>
                  <a:cubicBezTo>
                    <a:pt x="837" y="388"/>
                    <a:pt x="465" y="749"/>
                    <a:pt x="465" y="1401"/>
                  </a:cubicBezTo>
                  <a:cubicBezTo>
                    <a:pt x="465" y="2047"/>
                    <a:pt x="837" y="2409"/>
                    <a:pt x="1297" y="2409"/>
                  </a:cubicBezTo>
                  <a:close/>
                  <a:moveTo>
                    <a:pt x="1297" y="0"/>
                  </a:moveTo>
                  <a:lnTo>
                    <a:pt x="1297" y="0"/>
                  </a:lnTo>
                  <a:cubicBezTo>
                    <a:pt x="2145" y="0"/>
                    <a:pt x="2595" y="616"/>
                    <a:pt x="2595" y="1401"/>
                  </a:cubicBezTo>
                  <a:cubicBezTo>
                    <a:pt x="2595" y="2182"/>
                    <a:pt x="2145" y="2797"/>
                    <a:pt x="1297" y="2797"/>
                  </a:cubicBezTo>
                  <a:cubicBezTo>
                    <a:pt x="450" y="2797"/>
                    <a:pt x="0" y="2182"/>
                    <a:pt x="0" y="1401"/>
                  </a:cubicBezTo>
                  <a:cubicBezTo>
                    <a:pt x="0" y="616"/>
                    <a:pt x="450" y="0"/>
                    <a:pt x="129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Freeform 23"/>
            <p:cNvSpPr>
              <a:spLocks noEditPoints="1"/>
            </p:cNvSpPr>
            <p:nvPr userDrawn="1"/>
          </p:nvSpPr>
          <p:spPr bwMode="black">
            <a:xfrm>
              <a:off x="415632" y="3386791"/>
              <a:ext cx="227950" cy="256947"/>
            </a:xfrm>
            <a:custGeom>
              <a:avLst/>
              <a:gdLst>
                <a:gd name="T0" fmla="*/ 2001 w 2492"/>
                <a:gd name="T1" fmla="*/ 1142 h 2797"/>
                <a:gd name="T2" fmla="*/ 2001 w 2492"/>
                <a:gd name="T3" fmla="*/ 1142 h 2797"/>
                <a:gd name="T4" fmla="*/ 1231 w 2492"/>
                <a:gd name="T5" fmla="*/ 388 h 2797"/>
                <a:gd name="T6" fmla="*/ 465 w 2492"/>
                <a:gd name="T7" fmla="*/ 1142 h 2797"/>
                <a:gd name="T8" fmla="*/ 2001 w 2492"/>
                <a:gd name="T9" fmla="*/ 1142 h 2797"/>
                <a:gd name="T10" fmla="*/ 2425 w 2492"/>
                <a:gd name="T11" fmla="*/ 1887 h 2797"/>
                <a:gd name="T12" fmla="*/ 2425 w 2492"/>
                <a:gd name="T13" fmla="*/ 1887 h 2797"/>
                <a:gd name="T14" fmla="*/ 1283 w 2492"/>
                <a:gd name="T15" fmla="*/ 2797 h 2797"/>
                <a:gd name="T16" fmla="*/ 0 w 2492"/>
                <a:gd name="T17" fmla="*/ 1391 h 2797"/>
                <a:gd name="T18" fmla="*/ 1257 w 2492"/>
                <a:gd name="T19" fmla="*/ 0 h 2797"/>
                <a:gd name="T20" fmla="*/ 2466 w 2492"/>
                <a:gd name="T21" fmla="*/ 1530 h 2797"/>
                <a:gd name="T22" fmla="*/ 465 w 2492"/>
                <a:gd name="T23" fmla="*/ 1530 h 2797"/>
                <a:gd name="T24" fmla="*/ 1298 w 2492"/>
                <a:gd name="T25" fmla="*/ 2409 h 2797"/>
                <a:gd name="T26" fmla="*/ 1991 w 2492"/>
                <a:gd name="T27" fmla="*/ 1887 h 2797"/>
                <a:gd name="T28" fmla="*/ 2425 w 2492"/>
                <a:gd name="T29" fmla="*/ 1887 h 2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92" h="2797">
                  <a:moveTo>
                    <a:pt x="2001" y="1142"/>
                  </a:moveTo>
                  <a:lnTo>
                    <a:pt x="2001" y="1142"/>
                  </a:lnTo>
                  <a:cubicBezTo>
                    <a:pt x="1980" y="724"/>
                    <a:pt x="1665" y="388"/>
                    <a:pt x="1231" y="388"/>
                  </a:cubicBezTo>
                  <a:cubicBezTo>
                    <a:pt x="771" y="388"/>
                    <a:pt x="497" y="734"/>
                    <a:pt x="465" y="1142"/>
                  </a:cubicBezTo>
                  <a:lnTo>
                    <a:pt x="2001" y="1142"/>
                  </a:lnTo>
                  <a:close/>
                  <a:moveTo>
                    <a:pt x="2425" y="1887"/>
                  </a:moveTo>
                  <a:lnTo>
                    <a:pt x="2425" y="1887"/>
                  </a:lnTo>
                  <a:cubicBezTo>
                    <a:pt x="2306" y="2476"/>
                    <a:pt x="1882" y="2797"/>
                    <a:pt x="1283" y="2797"/>
                  </a:cubicBezTo>
                  <a:cubicBezTo>
                    <a:pt x="429" y="2797"/>
                    <a:pt x="26" y="2208"/>
                    <a:pt x="0" y="1391"/>
                  </a:cubicBezTo>
                  <a:cubicBezTo>
                    <a:pt x="0" y="589"/>
                    <a:pt x="528" y="0"/>
                    <a:pt x="1257" y="0"/>
                  </a:cubicBezTo>
                  <a:cubicBezTo>
                    <a:pt x="2203" y="0"/>
                    <a:pt x="2492" y="884"/>
                    <a:pt x="2466" y="1530"/>
                  </a:cubicBezTo>
                  <a:lnTo>
                    <a:pt x="465" y="1530"/>
                  </a:lnTo>
                  <a:cubicBezTo>
                    <a:pt x="450" y="1996"/>
                    <a:pt x="714" y="2409"/>
                    <a:pt x="1298" y="2409"/>
                  </a:cubicBezTo>
                  <a:cubicBezTo>
                    <a:pt x="1660" y="2409"/>
                    <a:pt x="1913" y="2233"/>
                    <a:pt x="1991" y="1887"/>
                  </a:cubicBezTo>
                  <a:lnTo>
                    <a:pt x="2425" y="18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9" name="Freeform 24"/>
            <p:cNvSpPr>
              <a:spLocks/>
            </p:cNvSpPr>
            <p:nvPr userDrawn="1"/>
          </p:nvSpPr>
          <p:spPr bwMode="black">
            <a:xfrm>
              <a:off x="172781" y="3298591"/>
              <a:ext cx="202175" cy="339509"/>
            </a:xfrm>
            <a:custGeom>
              <a:avLst/>
              <a:gdLst>
                <a:gd name="T0" fmla="*/ 0 w 2212"/>
                <a:gd name="T1" fmla="*/ 0 h 3691"/>
                <a:gd name="T2" fmla="*/ 439 w 2212"/>
                <a:gd name="T3" fmla="*/ 0 h 3691"/>
                <a:gd name="T4" fmla="*/ 439 w 2212"/>
                <a:gd name="T5" fmla="*/ 1411 h 3691"/>
                <a:gd name="T6" fmla="*/ 449 w 2212"/>
                <a:gd name="T7" fmla="*/ 1411 h 3691"/>
                <a:gd name="T8" fmla="*/ 1292 w 2212"/>
                <a:gd name="T9" fmla="*/ 956 h 3691"/>
                <a:gd name="T10" fmla="*/ 2212 w 2212"/>
                <a:gd name="T11" fmla="*/ 1933 h 3691"/>
                <a:gd name="T12" fmla="*/ 2212 w 2212"/>
                <a:gd name="T13" fmla="*/ 3691 h 3691"/>
                <a:gd name="T14" fmla="*/ 1773 w 2212"/>
                <a:gd name="T15" fmla="*/ 3691 h 3691"/>
                <a:gd name="T16" fmla="*/ 1773 w 2212"/>
                <a:gd name="T17" fmla="*/ 1882 h 3691"/>
                <a:gd name="T18" fmla="*/ 1230 w 2212"/>
                <a:gd name="T19" fmla="*/ 1344 h 3691"/>
                <a:gd name="T20" fmla="*/ 439 w 2212"/>
                <a:gd name="T21" fmla="*/ 2181 h 3691"/>
                <a:gd name="T22" fmla="*/ 439 w 2212"/>
                <a:gd name="T23" fmla="*/ 3691 h 3691"/>
                <a:gd name="T24" fmla="*/ 0 w 2212"/>
                <a:gd name="T25" fmla="*/ 3691 h 3691"/>
                <a:gd name="T26" fmla="*/ 0 w 2212"/>
                <a:gd name="T27" fmla="*/ 0 h 3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12" h="3691">
                  <a:moveTo>
                    <a:pt x="0" y="0"/>
                  </a:moveTo>
                  <a:lnTo>
                    <a:pt x="439" y="0"/>
                  </a:lnTo>
                  <a:lnTo>
                    <a:pt x="439" y="1411"/>
                  </a:lnTo>
                  <a:lnTo>
                    <a:pt x="449" y="1411"/>
                  </a:lnTo>
                  <a:cubicBezTo>
                    <a:pt x="595" y="1090"/>
                    <a:pt x="972" y="956"/>
                    <a:pt x="1292" y="956"/>
                  </a:cubicBezTo>
                  <a:cubicBezTo>
                    <a:pt x="1995" y="956"/>
                    <a:pt x="2212" y="1359"/>
                    <a:pt x="2212" y="1933"/>
                  </a:cubicBezTo>
                  <a:lnTo>
                    <a:pt x="2212" y="3691"/>
                  </a:lnTo>
                  <a:lnTo>
                    <a:pt x="1773" y="3691"/>
                  </a:lnTo>
                  <a:lnTo>
                    <a:pt x="1773" y="1882"/>
                  </a:lnTo>
                  <a:cubicBezTo>
                    <a:pt x="1773" y="1556"/>
                    <a:pt x="1566" y="1344"/>
                    <a:pt x="1230" y="1344"/>
                  </a:cubicBezTo>
                  <a:cubicBezTo>
                    <a:pt x="698" y="1344"/>
                    <a:pt x="439" y="1701"/>
                    <a:pt x="439" y="2181"/>
                  </a:cubicBezTo>
                  <a:lnTo>
                    <a:pt x="439" y="3691"/>
                  </a:lnTo>
                  <a:lnTo>
                    <a:pt x="0" y="36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31" name="Ryhmä 30"/>
          <p:cNvGrpSpPr/>
          <p:nvPr userDrawn="1"/>
        </p:nvGrpSpPr>
        <p:grpSpPr bwMode="black">
          <a:xfrm>
            <a:off x="3418730" y="2248015"/>
            <a:ext cx="2314413" cy="386545"/>
            <a:chOff x="1170790" y="2446391"/>
            <a:chExt cx="6636576" cy="1108419"/>
          </a:xfrm>
          <a:solidFill>
            <a:srgbClr val="001177"/>
          </a:solidFill>
        </p:grpSpPr>
        <p:sp>
          <p:nvSpPr>
            <p:cNvPr id="32" name="Freeform 5"/>
            <p:cNvSpPr>
              <a:spLocks/>
            </p:cNvSpPr>
            <p:nvPr userDrawn="1"/>
          </p:nvSpPr>
          <p:spPr bwMode="black">
            <a:xfrm>
              <a:off x="6555303" y="2446391"/>
              <a:ext cx="1252063" cy="1099843"/>
            </a:xfrm>
            <a:custGeom>
              <a:avLst/>
              <a:gdLst>
                <a:gd name="T0" fmla="*/ 1029 w 5148"/>
                <a:gd name="T1" fmla="*/ 2797 h 4505"/>
                <a:gd name="T2" fmla="*/ 1029 w 5148"/>
                <a:gd name="T3" fmla="*/ 2797 h 4505"/>
                <a:gd name="T4" fmla="*/ 1131 w 5148"/>
                <a:gd name="T5" fmla="*/ 2699 h 4505"/>
                <a:gd name="T6" fmla="*/ 3810 w 5148"/>
                <a:gd name="T7" fmla="*/ 2699 h 4505"/>
                <a:gd name="T8" fmla="*/ 4255 w 5148"/>
                <a:gd name="T9" fmla="*/ 2251 h 4505"/>
                <a:gd name="T10" fmla="*/ 3810 w 5148"/>
                <a:gd name="T11" fmla="*/ 1806 h 4505"/>
                <a:gd name="T12" fmla="*/ 1131 w 5148"/>
                <a:gd name="T13" fmla="*/ 1806 h 4505"/>
                <a:gd name="T14" fmla="*/ 1029 w 5148"/>
                <a:gd name="T15" fmla="*/ 1709 h 4505"/>
                <a:gd name="T16" fmla="*/ 1029 w 5148"/>
                <a:gd name="T17" fmla="*/ 1443 h 4505"/>
                <a:gd name="T18" fmla="*/ 1513 w 5148"/>
                <a:gd name="T19" fmla="*/ 960 h 4505"/>
                <a:gd name="T20" fmla="*/ 4664 w 5148"/>
                <a:gd name="T21" fmla="*/ 960 h 4505"/>
                <a:gd name="T22" fmla="*/ 5148 w 5148"/>
                <a:gd name="T23" fmla="*/ 480 h 4505"/>
                <a:gd name="T24" fmla="*/ 4664 w 5148"/>
                <a:gd name="T25" fmla="*/ 0 h 4505"/>
                <a:gd name="T26" fmla="*/ 1322 w 5148"/>
                <a:gd name="T27" fmla="*/ 0 h 4505"/>
                <a:gd name="T28" fmla="*/ 0 w 5148"/>
                <a:gd name="T29" fmla="*/ 1322 h 4505"/>
                <a:gd name="T30" fmla="*/ 0 w 5148"/>
                <a:gd name="T31" fmla="*/ 3187 h 4505"/>
                <a:gd name="T32" fmla="*/ 1322 w 5148"/>
                <a:gd name="T33" fmla="*/ 4505 h 4505"/>
                <a:gd name="T34" fmla="*/ 4664 w 5148"/>
                <a:gd name="T35" fmla="*/ 4505 h 4505"/>
                <a:gd name="T36" fmla="*/ 5148 w 5148"/>
                <a:gd name="T37" fmla="*/ 4025 h 4505"/>
                <a:gd name="T38" fmla="*/ 4664 w 5148"/>
                <a:gd name="T39" fmla="*/ 3546 h 4505"/>
                <a:gd name="T40" fmla="*/ 1513 w 5148"/>
                <a:gd name="T41" fmla="*/ 3546 h 4505"/>
                <a:gd name="T42" fmla="*/ 1029 w 5148"/>
                <a:gd name="T43" fmla="*/ 3062 h 4505"/>
                <a:gd name="T44" fmla="*/ 1029 w 5148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8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31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6" y="1806"/>
                    <a:pt x="3810" y="1806"/>
                  </a:cubicBezTo>
                  <a:lnTo>
                    <a:pt x="1131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4"/>
                    <a:pt x="1244" y="960"/>
                    <a:pt x="1513" y="960"/>
                  </a:cubicBezTo>
                  <a:lnTo>
                    <a:pt x="4664" y="960"/>
                  </a:lnTo>
                  <a:cubicBezTo>
                    <a:pt x="4929" y="960"/>
                    <a:pt x="5148" y="745"/>
                    <a:pt x="5148" y="480"/>
                  </a:cubicBezTo>
                  <a:cubicBezTo>
                    <a:pt x="5148" y="215"/>
                    <a:pt x="4929" y="0"/>
                    <a:pt x="4664" y="0"/>
                  </a:cubicBezTo>
                  <a:lnTo>
                    <a:pt x="1322" y="0"/>
                  </a:lnTo>
                  <a:cubicBezTo>
                    <a:pt x="593" y="4"/>
                    <a:pt x="0" y="593"/>
                    <a:pt x="0" y="1322"/>
                  </a:cubicBezTo>
                  <a:lnTo>
                    <a:pt x="0" y="3187"/>
                  </a:lnTo>
                  <a:cubicBezTo>
                    <a:pt x="0" y="3912"/>
                    <a:pt x="593" y="4501"/>
                    <a:pt x="1322" y="4505"/>
                  </a:cubicBezTo>
                  <a:lnTo>
                    <a:pt x="4664" y="4505"/>
                  </a:lnTo>
                  <a:cubicBezTo>
                    <a:pt x="4929" y="4505"/>
                    <a:pt x="5148" y="4291"/>
                    <a:pt x="5148" y="4025"/>
                  </a:cubicBezTo>
                  <a:cubicBezTo>
                    <a:pt x="5148" y="3760"/>
                    <a:pt x="4929" y="3546"/>
                    <a:pt x="4664" y="3546"/>
                  </a:cubicBezTo>
                  <a:lnTo>
                    <a:pt x="1513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3" name="Freeform 6"/>
            <p:cNvSpPr>
              <a:spLocks/>
            </p:cNvSpPr>
            <p:nvPr userDrawn="1"/>
          </p:nvSpPr>
          <p:spPr bwMode="black">
            <a:xfrm>
              <a:off x="3875374" y="2446391"/>
              <a:ext cx="1275646" cy="1099843"/>
            </a:xfrm>
            <a:custGeom>
              <a:avLst/>
              <a:gdLst>
                <a:gd name="T0" fmla="*/ 4158 w 5245"/>
                <a:gd name="T1" fmla="*/ 3304 h 4505"/>
                <a:gd name="T2" fmla="*/ 4158 w 5245"/>
                <a:gd name="T3" fmla="*/ 3304 h 4505"/>
                <a:gd name="T4" fmla="*/ 4240 w 5245"/>
                <a:gd name="T5" fmla="*/ 3421 h 4505"/>
                <a:gd name="T6" fmla="*/ 4115 w 5245"/>
                <a:gd name="T7" fmla="*/ 3546 h 4505"/>
                <a:gd name="T8" fmla="*/ 671 w 5245"/>
                <a:gd name="T9" fmla="*/ 3546 h 4505"/>
                <a:gd name="T10" fmla="*/ 187 w 5245"/>
                <a:gd name="T11" fmla="*/ 4025 h 4505"/>
                <a:gd name="T12" fmla="*/ 671 w 5245"/>
                <a:gd name="T13" fmla="*/ 4505 h 4505"/>
                <a:gd name="T14" fmla="*/ 4169 w 5245"/>
                <a:gd name="T15" fmla="*/ 4505 h 4505"/>
                <a:gd name="T16" fmla="*/ 5245 w 5245"/>
                <a:gd name="T17" fmla="*/ 3428 h 4505"/>
                <a:gd name="T18" fmla="*/ 4540 w 5245"/>
                <a:gd name="T19" fmla="*/ 2418 h 4505"/>
                <a:gd name="T20" fmla="*/ 1092 w 5245"/>
                <a:gd name="T21" fmla="*/ 1201 h 4505"/>
                <a:gd name="T22" fmla="*/ 1010 w 5245"/>
                <a:gd name="T23" fmla="*/ 1084 h 4505"/>
                <a:gd name="T24" fmla="*/ 1131 w 5245"/>
                <a:gd name="T25" fmla="*/ 960 h 4505"/>
                <a:gd name="T26" fmla="*/ 4575 w 5245"/>
                <a:gd name="T27" fmla="*/ 960 h 4505"/>
                <a:gd name="T28" fmla="*/ 5054 w 5245"/>
                <a:gd name="T29" fmla="*/ 480 h 4505"/>
                <a:gd name="T30" fmla="*/ 4575 w 5245"/>
                <a:gd name="T31" fmla="*/ 0 h 4505"/>
                <a:gd name="T32" fmla="*/ 1072 w 5245"/>
                <a:gd name="T33" fmla="*/ 0 h 4505"/>
                <a:gd name="T34" fmla="*/ 0 w 5245"/>
                <a:gd name="T35" fmla="*/ 1077 h 4505"/>
                <a:gd name="T36" fmla="*/ 667 w 5245"/>
                <a:gd name="T37" fmla="*/ 2071 h 4505"/>
                <a:gd name="T38" fmla="*/ 4158 w 5245"/>
                <a:gd name="T39" fmla="*/ 3304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45" h="4505">
                  <a:moveTo>
                    <a:pt x="4158" y="3304"/>
                  </a:moveTo>
                  <a:lnTo>
                    <a:pt x="4158" y="3304"/>
                  </a:lnTo>
                  <a:cubicBezTo>
                    <a:pt x="4201" y="3323"/>
                    <a:pt x="4240" y="3366"/>
                    <a:pt x="4240" y="3421"/>
                  </a:cubicBezTo>
                  <a:cubicBezTo>
                    <a:pt x="4240" y="3487"/>
                    <a:pt x="4181" y="3546"/>
                    <a:pt x="4115" y="3546"/>
                  </a:cubicBezTo>
                  <a:lnTo>
                    <a:pt x="671" y="3546"/>
                  </a:lnTo>
                  <a:cubicBezTo>
                    <a:pt x="402" y="3546"/>
                    <a:pt x="187" y="3760"/>
                    <a:pt x="187" y="4025"/>
                  </a:cubicBezTo>
                  <a:cubicBezTo>
                    <a:pt x="187" y="4291"/>
                    <a:pt x="406" y="4505"/>
                    <a:pt x="671" y="4505"/>
                  </a:cubicBezTo>
                  <a:lnTo>
                    <a:pt x="4169" y="4505"/>
                  </a:lnTo>
                  <a:cubicBezTo>
                    <a:pt x="4758" y="4505"/>
                    <a:pt x="5245" y="4021"/>
                    <a:pt x="5245" y="3428"/>
                  </a:cubicBezTo>
                  <a:cubicBezTo>
                    <a:pt x="5245" y="2964"/>
                    <a:pt x="4949" y="2570"/>
                    <a:pt x="4540" y="2418"/>
                  </a:cubicBezTo>
                  <a:lnTo>
                    <a:pt x="1092" y="1201"/>
                  </a:lnTo>
                  <a:cubicBezTo>
                    <a:pt x="1045" y="1186"/>
                    <a:pt x="1010" y="1139"/>
                    <a:pt x="1010" y="1084"/>
                  </a:cubicBezTo>
                  <a:cubicBezTo>
                    <a:pt x="1010" y="1018"/>
                    <a:pt x="1061" y="960"/>
                    <a:pt x="1131" y="960"/>
                  </a:cubicBezTo>
                  <a:lnTo>
                    <a:pt x="4575" y="960"/>
                  </a:lnTo>
                  <a:cubicBezTo>
                    <a:pt x="4840" y="960"/>
                    <a:pt x="5054" y="745"/>
                    <a:pt x="5054" y="480"/>
                  </a:cubicBezTo>
                  <a:cubicBezTo>
                    <a:pt x="5054" y="215"/>
                    <a:pt x="4836" y="0"/>
                    <a:pt x="4575" y="0"/>
                  </a:cubicBezTo>
                  <a:lnTo>
                    <a:pt x="1072" y="0"/>
                  </a:lnTo>
                  <a:cubicBezTo>
                    <a:pt x="476" y="0"/>
                    <a:pt x="0" y="484"/>
                    <a:pt x="0" y="1077"/>
                  </a:cubicBezTo>
                  <a:cubicBezTo>
                    <a:pt x="0" y="1525"/>
                    <a:pt x="277" y="1911"/>
                    <a:pt x="667" y="2071"/>
                  </a:cubicBezTo>
                  <a:lnTo>
                    <a:pt x="4158" y="3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4" name="Freeform 7"/>
            <p:cNvSpPr>
              <a:spLocks/>
            </p:cNvSpPr>
            <p:nvPr userDrawn="1"/>
          </p:nvSpPr>
          <p:spPr bwMode="black">
            <a:xfrm>
              <a:off x="5196043" y="2446391"/>
              <a:ext cx="1321741" cy="1108419"/>
            </a:xfrm>
            <a:custGeom>
              <a:avLst/>
              <a:gdLst>
                <a:gd name="T0" fmla="*/ 2196 w 5433"/>
                <a:gd name="T1" fmla="*/ 4025 h 4540"/>
                <a:gd name="T2" fmla="*/ 2196 w 5433"/>
                <a:gd name="T3" fmla="*/ 4025 h 4540"/>
                <a:gd name="T4" fmla="*/ 2710 w 5433"/>
                <a:gd name="T5" fmla="*/ 4540 h 4540"/>
                <a:gd name="T6" fmla="*/ 3225 w 5433"/>
                <a:gd name="T7" fmla="*/ 4025 h 4540"/>
                <a:gd name="T8" fmla="*/ 3225 w 5433"/>
                <a:gd name="T9" fmla="*/ 1061 h 4540"/>
                <a:gd name="T10" fmla="*/ 3327 w 5433"/>
                <a:gd name="T11" fmla="*/ 960 h 4540"/>
                <a:gd name="T12" fmla="*/ 4953 w 5433"/>
                <a:gd name="T13" fmla="*/ 960 h 4540"/>
                <a:gd name="T14" fmla="*/ 5433 w 5433"/>
                <a:gd name="T15" fmla="*/ 480 h 4540"/>
                <a:gd name="T16" fmla="*/ 4953 w 5433"/>
                <a:gd name="T17" fmla="*/ 0 h 4540"/>
                <a:gd name="T18" fmla="*/ 479 w 5433"/>
                <a:gd name="T19" fmla="*/ 0 h 4540"/>
                <a:gd name="T20" fmla="*/ 0 w 5433"/>
                <a:gd name="T21" fmla="*/ 480 h 4540"/>
                <a:gd name="T22" fmla="*/ 479 w 5433"/>
                <a:gd name="T23" fmla="*/ 960 h 4540"/>
                <a:gd name="T24" fmla="*/ 2098 w 5433"/>
                <a:gd name="T25" fmla="*/ 960 h 4540"/>
                <a:gd name="T26" fmla="*/ 2196 w 5433"/>
                <a:gd name="T27" fmla="*/ 1061 h 4540"/>
                <a:gd name="T28" fmla="*/ 2196 w 5433"/>
                <a:gd name="T29" fmla="*/ 4025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33" h="4540">
                  <a:moveTo>
                    <a:pt x="2196" y="4025"/>
                  </a:moveTo>
                  <a:lnTo>
                    <a:pt x="2196" y="4025"/>
                  </a:lnTo>
                  <a:cubicBezTo>
                    <a:pt x="2192" y="4310"/>
                    <a:pt x="2426" y="4540"/>
                    <a:pt x="2710" y="4540"/>
                  </a:cubicBezTo>
                  <a:cubicBezTo>
                    <a:pt x="2995" y="4540"/>
                    <a:pt x="3225" y="4310"/>
                    <a:pt x="3225" y="4025"/>
                  </a:cubicBezTo>
                  <a:lnTo>
                    <a:pt x="3225" y="1061"/>
                  </a:lnTo>
                  <a:cubicBezTo>
                    <a:pt x="3225" y="1003"/>
                    <a:pt x="3272" y="960"/>
                    <a:pt x="3327" y="960"/>
                  </a:cubicBezTo>
                  <a:lnTo>
                    <a:pt x="4953" y="960"/>
                  </a:lnTo>
                  <a:cubicBezTo>
                    <a:pt x="5218" y="960"/>
                    <a:pt x="5433" y="745"/>
                    <a:pt x="5433" y="480"/>
                  </a:cubicBezTo>
                  <a:cubicBezTo>
                    <a:pt x="5433" y="215"/>
                    <a:pt x="5214" y="0"/>
                    <a:pt x="4953" y="0"/>
                  </a:cubicBezTo>
                  <a:lnTo>
                    <a:pt x="479" y="0"/>
                  </a:lnTo>
                  <a:cubicBezTo>
                    <a:pt x="214" y="0"/>
                    <a:pt x="0" y="215"/>
                    <a:pt x="0" y="480"/>
                  </a:cubicBezTo>
                  <a:cubicBezTo>
                    <a:pt x="0" y="745"/>
                    <a:pt x="214" y="960"/>
                    <a:pt x="479" y="960"/>
                  </a:cubicBezTo>
                  <a:lnTo>
                    <a:pt x="2098" y="960"/>
                  </a:lnTo>
                  <a:cubicBezTo>
                    <a:pt x="2153" y="960"/>
                    <a:pt x="2196" y="1003"/>
                    <a:pt x="2196" y="1061"/>
                  </a:cubicBezTo>
                  <a:lnTo>
                    <a:pt x="2196" y="40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5" name="Freeform 8"/>
            <p:cNvSpPr>
              <a:spLocks/>
            </p:cNvSpPr>
            <p:nvPr userDrawn="1"/>
          </p:nvSpPr>
          <p:spPr bwMode="black">
            <a:xfrm>
              <a:off x="2550417" y="2446391"/>
              <a:ext cx="1250991" cy="1099843"/>
            </a:xfrm>
            <a:custGeom>
              <a:avLst/>
              <a:gdLst>
                <a:gd name="T0" fmla="*/ 1029 w 5144"/>
                <a:gd name="T1" fmla="*/ 2797 h 4505"/>
                <a:gd name="T2" fmla="*/ 1029 w 5144"/>
                <a:gd name="T3" fmla="*/ 2797 h 4505"/>
                <a:gd name="T4" fmla="*/ 1127 w 5144"/>
                <a:gd name="T5" fmla="*/ 2699 h 4505"/>
                <a:gd name="T6" fmla="*/ 3810 w 5144"/>
                <a:gd name="T7" fmla="*/ 2699 h 4505"/>
                <a:gd name="T8" fmla="*/ 4255 w 5144"/>
                <a:gd name="T9" fmla="*/ 2251 h 4505"/>
                <a:gd name="T10" fmla="*/ 3810 w 5144"/>
                <a:gd name="T11" fmla="*/ 1806 h 4505"/>
                <a:gd name="T12" fmla="*/ 1127 w 5144"/>
                <a:gd name="T13" fmla="*/ 1806 h 4505"/>
                <a:gd name="T14" fmla="*/ 1029 w 5144"/>
                <a:gd name="T15" fmla="*/ 1709 h 4505"/>
                <a:gd name="T16" fmla="*/ 1029 w 5144"/>
                <a:gd name="T17" fmla="*/ 1443 h 4505"/>
                <a:gd name="T18" fmla="*/ 1509 w 5144"/>
                <a:gd name="T19" fmla="*/ 960 h 4505"/>
                <a:gd name="T20" fmla="*/ 4664 w 5144"/>
                <a:gd name="T21" fmla="*/ 960 h 4505"/>
                <a:gd name="T22" fmla="*/ 5144 w 5144"/>
                <a:gd name="T23" fmla="*/ 480 h 4505"/>
                <a:gd name="T24" fmla="*/ 4664 w 5144"/>
                <a:gd name="T25" fmla="*/ 0 h 4505"/>
                <a:gd name="T26" fmla="*/ 1318 w 5144"/>
                <a:gd name="T27" fmla="*/ 0 h 4505"/>
                <a:gd name="T28" fmla="*/ 0 w 5144"/>
                <a:gd name="T29" fmla="*/ 1318 h 4505"/>
                <a:gd name="T30" fmla="*/ 0 w 5144"/>
                <a:gd name="T31" fmla="*/ 3187 h 4505"/>
                <a:gd name="T32" fmla="*/ 1318 w 5144"/>
                <a:gd name="T33" fmla="*/ 4505 h 4505"/>
                <a:gd name="T34" fmla="*/ 4664 w 5144"/>
                <a:gd name="T35" fmla="*/ 4505 h 4505"/>
                <a:gd name="T36" fmla="*/ 5144 w 5144"/>
                <a:gd name="T37" fmla="*/ 4025 h 4505"/>
                <a:gd name="T38" fmla="*/ 4664 w 5144"/>
                <a:gd name="T39" fmla="*/ 3546 h 4505"/>
                <a:gd name="T40" fmla="*/ 1509 w 5144"/>
                <a:gd name="T41" fmla="*/ 3546 h 4505"/>
                <a:gd name="T42" fmla="*/ 1029 w 5144"/>
                <a:gd name="T43" fmla="*/ 3062 h 4505"/>
                <a:gd name="T44" fmla="*/ 1029 w 5144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4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27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2" y="1806"/>
                    <a:pt x="3810" y="1806"/>
                  </a:cubicBezTo>
                  <a:lnTo>
                    <a:pt x="1127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8"/>
                    <a:pt x="1244" y="960"/>
                    <a:pt x="1509" y="960"/>
                  </a:cubicBezTo>
                  <a:lnTo>
                    <a:pt x="4664" y="960"/>
                  </a:lnTo>
                  <a:cubicBezTo>
                    <a:pt x="4929" y="960"/>
                    <a:pt x="5144" y="745"/>
                    <a:pt x="5144" y="480"/>
                  </a:cubicBezTo>
                  <a:cubicBezTo>
                    <a:pt x="5144" y="215"/>
                    <a:pt x="4929" y="0"/>
                    <a:pt x="4664" y="0"/>
                  </a:cubicBezTo>
                  <a:lnTo>
                    <a:pt x="1318" y="0"/>
                  </a:lnTo>
                  <a:cubicBezTo>
                    <a:pt x="588" y="4"/>
                    <a:pt x="0" y="593"/>
                    <a:pt x="0" y="1318"/>
                  </a:cubicBezTo>
                  <a:lnTo>
                    <a:pt x="0" y="3187"/>
                  </a:lnTo>
                  <a:cubicBezTo>
                    <a:pt x="0" y="3916"/>
                    <a:pt x="588" y="4501"/>
                    <a:pt x="1318" y="4505"/>
                  </a:cubicBezTo>
                  <a:lnTo>
                    <a:pt x="4664" y="4505"/>
                  </a:lnTo>
                  <a:cubicBezTo>
                    <a:pt x="4929" y="4505"/>
                    <a:pt x="5144" y="4291"/>
                    <a:pt x="5144" y="4025"/>
                  </a:cubicBezTo>
                  <a:cubicBezTo>
                    <a:pt x="5144" y="3760"/>
                    <a:pt x="4929" y="3546"/>
                    <a:pt x="4664" y="3546"/>
                  </a:cubicBezTo>
                  <a:lnTo>
                    <a:pt x="1509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6" name="Freeform 9"/>
            <p:cNvSpPr>
              <a:spLocks/>
            </p:cNvSpPr>
            <p:nvPr userDrawn="1"/>
          </p:nvSpPr>
          <p:spPr bwMode="black">
            <a:xfrm>
              <a:off x="1170790" y="2446391"/>
              <a:ext cx="1253135" cy="1108419"/>
            </a:xfrm>
            <a:custGeom>
              <a:avLst/>
              <a:gdLst>
                <a:gd name="T0" fmla="*/ 98 w 5152"/>
                <a:gd name="T1" fmla="*/ 0 h 4540"/>
                <a:gd name="T2" fmla="*/ 3834 w 5152"/>
                <a:gd name="T3" fmla="*/ 0 h 4540"/>
                <a:gd name="T4" fmla="*/ 5152 w 5152"/>
                <a:gd name="T5" fmla="*/ 1318 h 4540"/>
                <a:gd name="T6" fmla="*/ 5152 w 5152"/>
                <a:gd name="T7" fmla="*/ 4025 h 4540"/>
                <a:gd name="T8" fmla="*/ 4637 w 5152"/>
                <a:gd name="T9" fmla="*/ 4540 h 4540"/>
                <a:gd name="T10" fmla="*/ 4122 w 5152"/>
                <a:gd name="T11" fmla="*/ 4025 h 4540"/>
                <a:gd name="T12" fmla="*/ 4122 w 5152"/>
                <a:gd name="T13" fmla="*/ 1443 h 4540"/>
                <a:gd name="T14" fmla="*/ 3643 w 5152"/>
                <a:gd name="T15" fmla="*/ 960 h 4540"/>
                <a:gd name="T16" fmla="*/ 1131 w 5152"/>
                <a:gd name="T17" fmla="*/ 960 h 4540"/>
                <a:gd name="T18" fmla="*/ 1034 w 5152"/>
                <a:gd name="T19" fmla="*/ 1061 h 4540"/>
                <a:gd name="T20" fmla="*/ 1034 w 5152"/>
                <a:gd name="T21" fmla="*/ 4025 h 4540"/>
                <a:gd name="T22" fmla="*/ 515 w 5152"/>
                <a:gd name="T23" fmla="*/ 4540 h 4540"/>
                <a:gd name="T24" fmla="*/ 0 w 5152"/>
                <a:gd name="T25" fmla="*/ 4025 h 4540"/>
                <a:gd name="T26" fmla="*/ 0 w 5152"/>
                <a:gd name="T27" fmla="*/ 98 h 4540"/>
                <a:gd name="T28" fmla="*/ 98 w 5152"/>
                <a:gd name="T29" fmla="*/ 0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2" h="4540">
                  <a:moveTo>
                    <a:pt x="98" y="0"/>
                  </a:moveTo>
                  <a:lnTo>
                    <a:pt x="3834" y="0"/>
                  </a:lnTo>
                  <a:cubicBezTo>
                    <a:pt x="4563" y="0"/>
                    <a:pt x="5152" y="593"/>
                    <a:pt x="5152" y="1318"/>
                  </a:cubicBezTo>
                  <a:lnTo>
                    <a:pt x="5152" y="4025"/>
                  </a:lnTo>
                  <a:cubicBezTo>
                    <a:pt x="5152" y="4310"/>
                    <a:pt x="4922" y="4540"/>
                    <a:pt x="4637" y="4540"/>
                  </a:cubicBezTo>
                  <a:cubicBezTo>
                    <a:pt x="4353" y="4540"/>
                    <a:pt x="4119" y="4310"/>
                    <a:pt x="4122" y="4025"/>
                  </a:cubicBezTo>
                  <a:lnTo>
                    <a:pt x="4122" y="1443"/>
                  </a:lnTo>
                  <a:cubicBezTo>
                    <a:pt x="4119" y="1178"/>
                    <a:pt x="3908" y="960"/>
                    <a:pt x="3643" y="960"/>
                  </a:cubicBezTo>
                  <a:lnTo>
                    <a:pt x="1131" y="960"/>
                  </a:lnTo>
                  <a:cubicBezTo>
                    <a:pt x="1077" y="960"/>
                    <a:pt x="1030" y="1006"/>
                    <a:pt x="1034" y="1061"/>
                  </a:cubicBezTo>
                  <a:lnTo>
                    <a:pt x="1034" y="4025"/>
                  </a:lnTo>
                  <a:cubicBezTo>
                    <a:pt x="1034" y="4310"/>
                    <a:pt x="800" y="4540"/>
                    <a:pt x="515" y="4540"/>
                  </a:cubicBezTo>
                  <a:cubicBezTo>
                    <a:pt x="230" y="4540"/>
                    <a:pt x="0" y="4310"/>
                    <a:pt x="0" y="4025"/>
                  </a:cubicBezTo>
                  <a:lnTo>
                    <a:pt x="0" y="98"/>
                  </a:lnTo>
                  <a:cubicBezTo>
                    <a:pt x="0" y="43"/>
                    <a:pt x="47" y="0"/>
                    <a:pt x="9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3021592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i-FI"/>
              <a:t>Agenda slide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E7DD3-A03F-44FF-AE2D-B7E5D6269327}" type="datetime1">
              <a:rPr lang="fi-FI" smtClean="0"/>
              <a:t>4.2.2019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3028950" y="4770000"/>
            <a:ext cx="3086100" cy="274637"/>
          </a:xfrm>
        </p:spPr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‹#›</a:t>
            </a:fld>
            <a:endParaRPr lang="fi-FI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244800" y="1346400"/>
            <a:ext cx="8654400" cy="3308400"/>
          </a:xfrm>
        </p:spPr>
        <p:txBody>
          <a:bodyPr/>
          <a:lstStyle>
            <a:lvl1pPr marL="457200" indent="-457200">
              <a:buClr>
                <a:schemeClr val="accent2"/>
              </a:buClr>
              <a:buFont typeface="+mj-lt"/>
              <a:buAutoNum type="arabicPeriod"/>
              <a:defRPr/>
            </a:lvl1pPr>
            <a:lvl2pPr marL="800100" indent="-342900">
              <a:buClr>
                <a:schemeClr val="accent2"/>
              </a:buClr>
              <a:buFont typeface="+mj-lt"/>
              <a:buAutoNum type="arabicPeriod"/>
              <a:defRPr/>
            </a:lvl2pPr>
            <a:lvl3pPr marL="1257300" indent="-342900">
              <a:buClr>
                <a:schemeClr val="accent2"/>
              </a:buClr>
              <a:buFont typeface="+mj-lt"/>
              <a:buAutoNum type="arabicPeriod"/>
              <a:defRPr/>
            </a:lvl3pPr>
            <a:lvl4pPr marL="1714500" indent="-342900">
              <a:buClr>
                <a:schemeClr val="accent2"/>
              </a:buClr>
              <a:buFont typeface="+mj-lt"/>
              <a:buAutoNum type="arabicPeriod"/>
              <a:defRPr/>
            </a:lvl4pPr>
            <a:lvl5pPr marL="2171700" indent="-342900">
              <a:buClr>
                <a:schemeClr val="accent2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108988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ogan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Ryhmä 3"/>
          <p:cNvGrpSpPr/>
          <p:nvPr userDrawn="1"/>
        </p:nvGrpSpPr>
        <p:grpSpPr bwMode="black">
          <a:xfrm>
            <a:off x="3418730" y="2248015"/>
            <a:ext cx="2314413" cy="386545"/>
            <a:chOff x="1170790" y="2446391"/>
            <a:chExt cx="6636576" cy="1108419"/>
          </a:xfrm>
          <a:solidFill>
            <a:srgbClr val="001177"/>
          </a:solidFill>
        </p:grpSpPr>
        <p:sp>
          <p:nvSpPr>
            <p:cNvPr id="5" name="Freeform 5"/>
            <p:cNvSpPr>
              <a:spLocks/>
            </p:cNvSpPr>
            <p:nvPr userDrawn="1"/>
          </p:nvSpPr>
          <p:spPr bwMode="black">
            <a:xfrm>
              <a:off x="6555303" y="2446391"/>
              <a:ext cx="1252063" cy="1099843"/>
            </a:xfrm>
            <a:custGeom>
              <a:avLst/>
              <a:gdLst>
                <a:gd name="T0" fmla="*/ 1029 w 5148"/>
                <a:gd name="T1" fmla="*/ 2797 h 4505"/>
                <a:gd name="T2" fmla="*/ 1029 w 5148"/>
                <a:gd name="T3" fmla="*/ 2797 h 4505"/>
                <a:gd name="T4" fmla="*/ 1131 w 5148"/>
                <a:gd name="T5" fmla="*/ 2699 h 4505"/>
                <a:gd name="T6" fmla="*/ 3810 w 5148"/>
                <a:gd name="T7" fmla="*/ 2699 h 4505"/>
                <a:gd name="T8" fmla="*/ 4255 w 5148"/>
                <a:gd name="T9" fmla="*/ 2251 h 4505"/>
                <a:gd name="T10" fmla="*/ 3810 w 5148"/>
                <a:gd name="T11" fmla="*/ 1806 h 4505"/>
                <a:gd name="T12" fmla="*/ 1131 w 5148"/>
                <a:gd name="T13" fmla="*/ 1806 h 4505"/>
                <a:gd name="T14" fmla="*/ 1029 w 5148"/>
                <a:gd name="T15" fmla="*/ 1709 h 4505"/>
                <a:gd name="T16" fmla="*/ 1029 w 5148"/>
                <a:gd name="T17" fmla="*/ 1443 h 4505"/>
                <a:gd name="T18" fmla="*/ 1513 w 5148"/>
                <a:gd name="T19" fmla="*/ 960 h 4505"/>
                <a:gd name="T20" fmla="*/ 4664 w 5148"/>
                <a:gd name="T21" fmla="*/ 960 h 4505"/>
                <a:gd name="T22" fmla="*/ 5148 w 5148"/>
                <a:gd name="T23" fmla="*/ 480 h 4505"/>
                <a:gd name="T24" fmla="*/ 4664 w 5148"/>
                <a:gd name="T25" fmla="*/ 0 h 4505"/>
                <a:gd name="T26" fmla="*/ 1322 w 5148"/>
                <a:gd name="T27" fmla="*/ 0 h 4505"/>
                <a:gd name="T28" fmla="*/ 0 w 5148"/>
                <a:gd name="T29" fmla="*/ 1322 h 4505"/>
                <a:gd name="T30" fmla="*/ 0 w 5148"/>
                <a:gd name="T31" fmla="*/ 3187 h 4505"/>
                <a:gd name="T32" fmla="*/ 1322 w 5148"/>
                <a:gd name="T33" fmla="*/ 4505 h 4505"/>
                <a:gd name="T34" fmla="*/ 4664 w 5148"/>
                <a:gd name="T35" fmla="*/ 4505 h 4505"/>
                <a:gd name="T36" fmla="*/ 5148 w 5148"/>
                <a:gd name="T37" fmla="*/ 4025 h 4505"/>
                <a:gd name="T38" fmla="*/ 4664 w 5148"/>
                <a:gd name="T39" fmla="*/ 3546 h 4505"/>
                <a:gd name="T40" fmla="*/ 1513 w 5148"/>
                <a:gd name="T41" fmla="*/ 3546 h 4505"/>
                <a:gd name="T42" fmla="*/ 1029 w 5148"/>
                <a:gd name="T43" fmla="*/ 3062 h 4505"/>
                <a:gd name="T44" fmla="*/ 1029 w 5148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8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31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6" y="1806"/>
                    <a:pt x="3810" y="1806"/>
                  </a:cubicBezTo>
                  <a:lnTo>
                    <a:pt x="1131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4"/>
                    <a:pt x="1244" y="960"/>
                    <a:pt x="1513" y="960"/>
                  </a:cubicBezTo>
                  <a:lnTo>
                    <a:pt x="4664" y="960"/>
                  </a:lnTo>
                  <a:cubicBezTo>
                    <a:pt x="4929" y="960"/>
                    <a:pt x="5148" y="745"/>
                    <a:pt x="5148" y="480"/>
                  </a:cubicBezTo>
                  <a:cubicBezTo>
                    <a:pt x="5148" y="215"/>
                    <a:pt x="4929" y="0"/>
                    <a:pt x="4664" y="0"/>
                  </a:cubicBezTo>
                  <a:lnTo>
                    <a:pt x="1322" y="0"/>
                  </a:lnTo>
                  <a:cubicBezTo>
                    <a:pt x="593" y="4"/>
                    <a:pt x="0" y="593"/>
                    <a:pt x="0" y="1322"/>
                  </a:cubicBezTo>
                  <a:lnTo>
                    <a:pt x="0" y="3187"/>
                  </a:lnTo>
                  <a:cubicBezTo>
                    <a:pt x="0" y="3912"/>
                    <a:pt x="593" y="4501"/>
                    <a:pt x="1322" y="4505"/>
                  </a:cubicBezTo>
                  <a:lnTo>
                    <a:pt x="4664" y="4505"/>
                  </a:lnTo>
                  <a:cubicBezTo>
                    <a:pt x="4929" y="4505"/>
                    <a:pt x="5148" y="4291"/>
                    <a:pt x="5148" y="4025"/>
                  </a:cubicBezTo>
                  <a:cubicBezTo>
                    <a:pt x="5148" y="3760"/>
                    <a:pt x="4929" y="3546"/>
                    <a:pt x="4664" y="3546"/>
                  </a:cubicBezTo>
                  <a:lnTo>
                    <a:pt x="1513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black">
            <a:xfrm>
              <a:off x="3875374" y="2446391"/>
              <a:ext cx="1275646" cy="1099843"/>
            </a:xfrm>
            <a:custGeom>
              <a:avLst/>
              <a:gdLst>
                <a:gd name="T0" fmla="*/ 4158 w 5245"/>
                <a:gd name="T1" fmla="*/ 3304 h 4505"/>
                <a:gd name="T2" fmla="*/ 4158 w 5245"/>
                <a:gd name="T3" fmla="*/ 3304 h 4505"/>
                <a:gd name="T4" fmla="*/ 4240 w 5245"/>
                <a:gd name="T5" fmla="*/ 3421 h 4505"/>
                <a:gd name="T6" fmla="*/ 4115 w 5245"/>
                <a:gd name="T7" fmla="*/ 3546 h 4505"/>
                <a:gd name="T8" fmla="*/ 671 w 5245"/>
                <a:gd name="T9" fmla="*/ 3546 h 4505"/>
                <a:gd name="T10" fmla="*/ 187 w 5245"/>
                <a:gd name="T11" fmla="*/ 4025 h 4505"/>
                <a:gd name="T12" fmla="*/ 671 w 5245"/>
                <a:gd name="T13" fmla="*/ 4505 h 4505"/>
                <a:gd name="T14" fmla="*/ 4169 w 5245"/>
                <a:gd name="T15" fmla="*/ 4505 h 4505"/>
                <a:gd name="T16" fmla="*/ 5245 w 5245"/>
                <a:gd name="T17" fmla="*/ 3428 h 4505"/>
                <a:gd name="T18" fmla="*/ 4540 w 5245"/>
                <a:gd name="T19" fmla="*/ 2418 h 4505"/>
                <a:gd name="T20" fmla="*/ 1092 w 5245"/>
                <a:gd name="T21" fmla="*/ 1201 h 4505"/>
                <a:gd name="T22" fmla="*/ 1010 w 5245"/>
                <a:gd name="T23" fmla="*/ 1084 h 4505"/>
                <a:gd name="T24" fmla="*/ 1131 w 5245"/>
                <a:gd name="T25" fmla="*/ 960 h 4505"/>
                <a:gd name="T26" fmla="*/ 4575 w 5245"/>
                <a:gd name="T27" fmla="*/ 960 h 4505"/>
                <a:gd name="T28" fmla="*/ 5054 w 5245"/>
                <a:gd name="T29" fmla="*/ 480 h 4505"/>
                <a:gd name="T30" fmla="*/ 4575 w 5245"/>
                <a:gd name="T31" fmla="*/ 0 h 4505"/>
                <a:gd name="T32" fmla="*/ 1072 w 5245"/>
                <a:gd name="T33" fmla="*/ 0 h 4505"/>
                <a:gd name="T34" fmla="*/ 0 w 5245"/>
                <a:gd name="T35" fmla="*/ 1077 h 4505"/>
                <a:gd name="T36" fmla="*/ 667 w 5245"/>
                <a:gd name="T37" fmla="*/ 2071 h 4505"/>
                <a:gd name="T38" fmla="*/ 4158 w 5245"/>
                <a:gd name="T39" fmla="*/ 3304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45" h="4505">
                  <a:moveTo>
                    <a:pt x="4158" y="3304"/>
                  </a:moveTo>
                  <a:lnTo>
                    <a:pt x="4158" y="3304"/>
                  </a:lnTo>
                  <a:cubicBezTo>
                    <a:pt x="4201" y="3323"/>
                    <a:pt x="4240" y="3366"/>
                    <a:pt x="4240" y="3421"/>
                  </a:cubicBezTo>
                  <a:cubicBezTo>
                    <a:pt x="4240" y="3487"/>
                    <a:pt x="4181" y="3546"/>
                    <a:pt x="4115" y="3546"/>
                  </a:cubicBezTo>
                  <a:lnTo>
                    <a:pt x="671" y="3546"/>
                  </a:lnTo>
                  <a:cubicBezTo>
                    <a:pt x="402" y="3546"/>
                    <a:pt x="187" y="3760"/>
                    <a:pt x="187" y="4025"/>
                  </a:cubicBezTo>
                  <a:cubicBezTo>
                    <a:pt x="187" y="4291"/>
                    <a:pt x="406" y="4505"/>
                    <a:pt x="671" y="4505"/>
                  </a:cubicBezTo>
                  <a:lnTo>
                    <a:pt x="4169" y="4505"/>
                  </a:lnTo>
                  <a:cubicBezTo>
                    <a:pt x="4758" y="4505"/>
                    <a:pt x="5245" y="4021"/>
                    <a:pt x="5245" y="3428"/>
                  </a:cubicBezTo>
                  <a:cubicBezTo>
                    <a:pt x="5245" y="2964"/>
                    <a:pt x="4949" y="2570"/>
                    <a:pt x="4540" y="2418"/>
                  </a:cubicBezTo>
                  <a:lnTo>
                    <a:pt x="1092" y="1201"/>
                  </a:lnTo>
                  <a:cubicBezTo>
                    <a:pt x="1045" y="1186"/>
                    <a:pt x="1010" y="1139"/>
                    <a:pt x="1010" y="1084"/>
                  </a:cubicBezTo>
                  <a:cubicBezTo>
                    <a:pt x="1010" y="1018"/>
                    <a:pt x="1061" y="960"/>
                    <a:pt x="1131" y="960"/>
                  </a:cubicBezTo>
                  <a:lnTo>
                    <a:pt x="4575" y="960"/>
                  </a:lnTo>
                  <a:cubicBezTo>
                    <a:pt x="4840" y="960"/>
                    <a:pt x="5054" y="745"/>
                    <a:pt x="5054" y="480"/>
                  </a:cubicBezTo>
                  <a:cubicBezTo>
                    <a:pt x="5054" y="215"/>
                    <a:pt x="4836" y="0"/>
                    <a:pt x="4575" y="0"/>
                  </a:cubicBezTo>
                  <a:lnTo>
                    <a:pt x="1072" y="0"/>
                  </a:lnTo>
                  <a:cubicBezTo>
                    <a:pt x="476" y="0"/>
                    <a:pt x="0" y="484"/>
                    <a:pt x="0" y="1077"/>
                  </a:cubicBezTo>
                  <a:cubicBezTo>
                    <a:pt x="0" y="1525"/>
                    <a:pt x="277" y="1911"/>
                    <a:pt x="667" y="2071"/>
                  </a:cubicBezTo>
                  <a:lnTo>
                    <a:pt x="4158" y="3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black">
            <a:xfrm>
              <a:off x="5196043" y="2446391"/>
              <a:ext cx="1321741" cy="1108419"/>
            </a:xfrm>
            <a:custGeom>
              <a:avLst/>
              <a:gdLst>
                <a:gd name="T0" fmla="*/ 2196 w 5433"/>
                <a:gd name="T1" fmla="*/ 4025 h 4540"/>
                <a:gd name="T2" fmla="*/ 2196 w 5433"/>
                <a:gd name="T3" fmla="*/ 4025 h 4540"/>
                <a:gd name="T4" fmla="*/ 2710 w 5433"/>
                <a:gd name="T5" fmla="*/ 4540 h 4540"/>
                <a:gd name="T6" fmla="*/ 3225 w 5433"/>
                <a:gd name="T7" fmla="*/ 4025 h 4540"/>
                <a:gd name="T8" fmla="*/ 3225 w 5433"/>
                <a:gd name="T9" fmla="*/ 1061 h 4540"/>
                <a:gd name="T10" fmla="*/ 3327 w 5433"/>
                <a:gd name="T11" fmla="*/ 960 h 4540"/>
                <a:gd name="T12" fmla="*/ 4953 w 5433"/>
                <a:gd name="T13" fmla="*/ 960 h 4540"/>
                <a:gd name="T14" fmla="*/ 5433 w 5433"/>
                <a:gd name="T15" fmla="*/ 480 h 4540"/>
                <a:gd name="T16" fmla="*/ 4953 w 5433"/>
                <a:gd name="T17" fmla="*/ 0 h 4540"/>
                <a:gd name="T18" fmla="*/ 479 w 5433"/>
                <a:gd name="T19" fmla="*/ 0 h 4540"/>
                <a:gd name="T20" fmla="*/ 0 w 5433"/>
                <a:gd name="T21" fmla="*/ 480 h 4540"/>
                <a:gd name="T22" fmla="*/ 479 w 5433"/>
                <a:gd name="T23" fmla="*/ 960 h 4540"/>
                <a:gd name="T24" fmla="*/ 2098 w 5433"/>
                <a:gd name="T25" fmla="*/ 960 h 4540"/>
                <a:gd name="T26" fmla="*/ 2196 w 5433"/>
                <a:gd name="T27" fmla="*/ 1061 h 4540"/>
                <a:gd name="T28" fmla="*/ 2196 w 5433"/>
                <a:gd name="T29" fmla="*/ 4025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33" h="4540">
                  <a:moveTo>
                    <a:pt x="2196" y="4025"/>
                  </a:moveTo>
                  <a:lnTo>
                    <a:pt x="2196" y="4025"/>
                  </a:lnTo>
                  <a:cubicBezTo>
                    <a:pt x="2192" y="4310"/>
                    <a:pt x="2426" y="4540"/>
                    <a:pt x="2710" y="4540"/>
                  </a:cubicBezTo>
                  <a:cubicBezTo>
                    <a:pt x="2995" y="4540"/>
                    <a:pt x="3225" y="4310"/>
                    <a:pt x="3225" y="4025"/>
                  </a:cubicBezTo>
                  <a:lnTo>
                    <a:pt x="3225" y="1061"/>
                  </a:lnTo>
                  <a:cubicBezTo>
                    <a:pt x="3225" y="1003"/>
                    <a:pt x="3272" y="960"/>
                    <a:pt x="3327" y="960"/>
                  </a:cubicBezTo>
                  <a:lnTo>
                    <a:pt x="4953" y="960"/>
                  </a:lnTo>
                  <a:cubicBezTo>
                    <a:pt x="5218" y="960"/>
                    <a:pt x="5433" y="745"/>
                    <a:pt x="5433" y="480"/>
                  </a:cubicBezTo>
                  <a:cubicBezTo>
                    <a:pt x="5433" y="215"/>
                    <a:pt x="5214" y="0"/>
                    <a:pt x="4953" y="0"/>
                  </a:cubicBezTo>
                  <a:lnTo>
                    <a:pt x="479" y="0"/>
                  </a:lnTo>
                  <a:cubicBezTo>
                    <a:pt x="214" y="0"/>
                    <a:pt x="0" y="215"/>
                    <a:pt x="0" y="480"/>
                  </a:cubicBezTo>
                  <a:cubicBezTo>
                    <a:pt x="0" y="745"/>
                    <a:pt x="214" y="960"/>
                    <a:pt x="479" y="960"/>
                  </a:cubicBezTo>
                  <a:lnTo>
                    <a:pt x="2098" y="960"/>
                  </a:lnTo>
                  <a:cubicBezTo>
                    <a:pt x="2153" y="960"/>
                    <a:pt x="2196" y="1003"/>
                    <a:pt x="2196" y="1061"/>
                  </a:cubicBezTo>
                  <a:lnTo>
                    <a:pt x="2196" y="40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black">
            <a:xfrm>
              <a:off x="2550417" y="2446391"/>
              <a:ext cx="1250991" cy="1099843"/>
            </a:xfrm>
            <a:custGeom>
              <a:avLst/>
              <a:gdLst>
                <a:gd name="T0" fmla="*/ 1029 w 5144"/>
                <a:gd name="T1" fmla="*/ 2797 h 4505"/>
                <a:gd name="T2" fmla="*/ 1029 w 5144"/>
                <a:gd name="T3" fmla="*/ 2797 h 4505"/>
                <a:gd name="T4" fmla="*/ 1127 w 5144"/>
                <a:gd name="T5" fmla="*/ 2699 h 4505"/>
                <a:gd name="T6" fmla="*/ 3810 w 5144"/>
                <a:gd name="T7" fmla="*/ 2699 h 4505"/>
                <a:gd name="T8" fmla="*/ 4255 w 5144"/>
                <a:gd name="T9" fmla="*/ 2251 h 4505"/>
                <a:gd name="T10" fmla="*/ 3810 w 5144"/>
                <a:gd name="T11" fmla="*/ 1806 h 4505"/>
                <a:gd name="T12" fmla="*/ 1127 w 5144"/>
                <a:gd name="T13" fmla="*/ 1806 h 4505"/>
                <a:gd name="T14" fmla="*/ 1029 w 5144"/>
                <a:gd name="T15" fmla="*/ 1709 h 4505"/>
                <a:gd name="T16" fmla="*/ 1029 w 5144"/>
                <a:gd name="T17" fmla="*/ 1443 h 4505"/>
                <a:gd name="T18" fmla="*/ 1509 w 5144"/>
                <a:gd name="T19" fmla="*/ 960 h 4505"/>
                <a:gd name="T20" fmla="*/ 4664 w 5144"/>
                <a:gd name="T21" fmla="*/ 960 h 4505"/>
                <a:gd name="T22" fmla="*/ 5144 w 5144"/>
                <a:gd name="T23" fmla="*/ 480 h 4505"/>
                <a:gd name="T24" fmla="*/ 4664 w 5144"/>
                <a:gd name="T25" fmla="*/ 0 h 4505"/>
                <a:gd name="T26" fmla="*/ 1318 w 5144"/>
                <a:gd name="T27" fmla="*/ 0 h 4505"/>
                <a:gd name="T28" fmla="*/ 0 w 5144"/>
                <a:gd name="T29" fmla="*/ 1318 h 4505"/>
                <a:gd name="T30" fmla="*/ 0 w 5144"/>
                <a:gd name="T31" fmla="*/ 3187 h 4505"/>
                <a:gd name="T32" fmla="*/ 1318 w 5144"/>
                <a:gd name="T33" fmla="*/ 4505 h 4505"/>
                <a:gd name="T34" fmla="*/ 4664 w 5144"/>
                <a:gd name="T35" fmla="*/ 4505 h 4505"/>
                <a:gd name="T36" fmla="*/ 5144 w 5144"/>
                <a:gd name="T37" fmla="*/ 4025 h 4505"/>
                <a:gd name="T38" fmla="*/ 4664 w 5144"/>
                <a:gd name="T39" fmla="*/ 3546 h 4505"/>
                <a:gd name="T40" fmla="*/ 1509 w 5144"/>
                <a:gd name="T41" fmla="*/ 3546 h 4505"/>
                <a:gd name="T42" fmla="*/ 1029 w 5144"/>
                <a:gd name="T43" fmla="*/ 3062 h 4505"/>
                <a:gd name="T44" fmla="*/ 1029 w 5144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4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27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2" y="1806"/>
                    <a:pt x="3810" y="1806"/>
                  </a:cubicBezTo>
                  <a:lnTo>
                    <a:pt x="1127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8"/>
                    <a:pt x="1244" y="960"/>
                    <a:pt x="1509" y="960"/>
                  </a:cubicBezTo>
                  <a:lnTo>
                    <a:pt x="4664" y="960"/>
                  </a:lnTo>
                  <a:cubicBezTo>
                    <a:pt x="4929" y="960"/>
                    <a:pt x="5144" y="745"/>
                    <a:pt x="5144" y="480"/>
                  </a:cubicBezTo>
                  <a:cubicBezTo>
                    <a:pt x="5144" y="215"/>
                    <a:pt x="4929" y="0"/>
                    <a:pt x="4664" y="0"/>
                  </a:cubicBezTo>
                  <a:lnTo>
                    <a:pt x="1318" y="0"/>
                  </a:lnTo>
                  <a:cubicBezTo>
                    <a:pt x="588" y="4"/>
                    <a:pt x="0" y="593"/>
                    <a:pt x="0" y="1318"/>
                  </a:cubicBezTo>
                  <a:lnTo>
                    <a:pt x="0" y="3187"/>
                  </a:lnTo>
                  <a:cubicBezTo>
                    <a:pt x="0" y="3916"/>
                    <a:pt x="588" y="4501"/>
                    <a:pt x="1318" y="4505"/>
                  </a:cubicBezTo>
                  <a:lnTo>
                    <a:pt x="4664" y="4505"/>
                  </a:lnTo>
                  <a:cubicBezTo>
                    <a:pt x="4929" y="4505"/>
                    <a:pt x="5144" y="4291"/>
                    <a:pt x="5144" y="4025"/>
                  </a:cubicBezTo>
                  <a:cubicBezTo>
                    <a:pt x="5144" y="3760"/>
                    <a:pt x="4929" y="3546"/>
                    <a:pt x="4664" y="3546"/>
                  </a:cubicBezTo>
                  <a:lnTo>
                    <a:pt x="1509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black">
            <a:xfrm>
              <a:off x="1170790" y="2446391"/>
              <a:ext cx="1253135" cy="1108419"/>
            </a:xfrm>
            <a:custGeom>
              <a:avLst/>
              <a:gdLst>
                <a:gd name="T0" fmla="*/ 98 w 5152"/>
                <a:gd name="T1" fmla="*/ 0 h 4540"/>
                <a:gd name="T2" fmla="*/ 3834 w 5152"/>
                <a:gd name="T3" fmla="*/ 0 h 4540"/>
                <a:gd name="T4" fmla="*/ 5152 w 5152"/>
                <a:gd name="T5" fmla="*/ 1318 h 4540"/>
                <a:gd name="T6" fmla="*/ 5152 w 5152"/>
                <a:gd name="T7" fmla="*/ 4025 h 4540"/>
                <a:gd name="T8" fmla="*/ 4637 w 5152"/>
                <a:gd name="T9" fmla="*/ 4540 h 4540"/>
                <a:gd name="T10" fmla="*/ 4122 w 5152"/>
                <a:gd name="T11" fmla="*/ 4025 h 4540"/>
                <a:gd name="T12" fmla="*/ 4122 w 5152"/>
                <a:gd name="T13" fmla="*/ 1443 h 4540"/>
                <a:gd name="T14" fmla="*/ 3643 w 5152"/>
                <a:gd name="T15" fmla="*/ 960 h 4540"/>
                <a:gd name="T16" fmla="*/ 1131 w 5152"/>
                <a:gd name="T17" fmla="*/ 960 h 4540"/>
                <a:gd name="T18" fmla="*/ 1034 w 5152"/>
                <a:gd name="T19" fmla="*/ 1061 h 4540"/>
                <a:gd name="T20" fmla="*/ 1034 w 5152"/>
                <a:gd name="T21" fmla="*/ 4025 h 4540"/>
                <a:gd name="T22" fmla="*/ 515 w 5152"/>
                <a:gd name="T23" fmla="*/ 4540 h 4540"/>
                <a:gd name="T24" fmla="*/ 0 w 5152"/>
                <a:gd name="T25" fmla="*/ 4025 h 4540"/>
                <a:gd name="T26" fmla="*/ 0 w 5152"/>
                <a:gd name="T27" fmla="*/ 98 h 4540"/>
                <a:gd name="T28" fmla="*/ 98 w 5152"/>
                <a:gd name="T29" fmla="*/ 0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2" h="4540">
                  <a:moveTo>
                    <a:pt x="98" y="0"/>
                  </a:moveTo>
                  <a:lnTo>
                    <a:pt x="3834" y="0"/>
                  </a:lnTo>
                  <a:cubicBezTo>
                    <a:pt x="4563" y="0"/>
                    <a:pt x="5152" y="593"/>
                    <a:pt x="5152" y="1318"/>
                  </a:cubicBezTo>
                  <a:lnTo>
                    <a:pt x="5152" y="4025"/>
                  </a:lnTo>
                  <a:cubicBezTo>
                    <a:pt x="5152" y="4310"/>
                    <a:pt x="4922" y="4540"/>
                    <a:pt x="4637" y="4540"/>
                  </a:cubicBezTo>
                  <a:cubicBezTo>
                    <a:pt x="4353" y="4540"/>
                    <a:pt x="4119" y="4310"/>
                    <a:pt x="4122" y="4025"/>
                  </a:cubicBezTo>
                  <a:lnTo>
                    <a:pt x="4122" y="1443"/>
                  </a:lnTo>
                  <a:cubicBezTo>
                    <a:pt x="4119" y="1178"/>
                    <a:pt x="3908" y="960"/>
                    <a:pt x="3643" y="960"/>
                  </a:cubicBezTo>
                  <a:lnTo>
                    <a:pt x="1131" y="960"/>
                  </a:lnTo>
                  <a:cubicBezTo>
                    <a:pt x="1077" y="960"/>
                    <a:pt x="1030" y="1006"/>
                    <a:pt x="1034" y="1061"/>
                  </a:cubicBezTo>
                  <a:lnTo>
                    <a:pt x="1034" y="4025"/>
                  </a:lnTo>
                  <a:cubicBezTo>
                    <a:pt x="1034" y="4310"/>
                    <a:pt x="800" y="4540"/>
                    <a:pt x="515" y="4540"/>
                  </a:cubicBezTo>
                  <a:cubicBezTo>
                    <a:pt x="230" y="4540"/>
                    <a:pt x="0" y="4310"/>
                    <a:pt x="0" y="4025"/>
                  </a:cubicBezTo>
                  <a:lnTo>
                    <a:pt x="0" y="98"/>
                  </a:lnTo>
                  <a:cubicBezTo>
                    <a:pt x="0" y="43"/>
                    <a:pt x="47" y="0"/>
                    <a:pt x="9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39" name="Ryhmä 38"/>
          <p:cNvGrpSpPr/>
          <p:nvPr userDrawn="1"/>
        </p:nvGrpSpPr>
        <p:grpSpPr bwMode="black">
          <a:xfrm>
            <a:off x="3420982" y="2744413"/>
            <a:ext cx="2263062" cy="184224"/>
            <a:chOff x="726201" y="3564470"/>
            <a:chExt cx="7908400" cy="643782"/>
          </a:xfrm>
          <a:solidFill>
            <a:srgbClr val="001177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black">
            <a:xfrm>
              <a:off x="8334943" y="3694644"/>
              <a:ext cx="299658" cy="373767"/>
            </a:xfrm>
            <a:custGeom>
              <a:avLst/>
              <a:gdLst>
                <a:gd name="T0" fmla="*/ 0 w 2050"/>
                <a:gd name="T1" fmla="*/ 58 h 2533"/>
                <a:gd name="T2" fmla="*/ 0 w 2050"/>
                <a:gd name="T3" fmla="*/ 58 h 2533"/>
                <a:gd name="T4" fmla="*/ 383 w 2050"/>
                <a:gd name="T5" fmla="*/ 58 h 2533"/>
                <a:gd name="T6" fmla="*/ 383 w 2050"/>
                <a:gd name="T7" fmla="*/ 450 h 2533"/>
                <a:gd name="T8" fmla="*/ 393 w 2050"/>
                <a:gd name="T9" fmla="*/ 450 h 2533"/>
                <a:gd name="T10" fmla="*/ 1198 w 2050"/>
                <a:gd name="T11" fmla="*/ 0 h 2533"/>
                <a:gd name="T12" fmla="*/ 2050 w 2050"/>
                <a:gd name="T13" fmla="*/ 905 h 2533"/>
                <a:gd name="T14" fmla="*/ 2050 w 2050"/>
                <a:gd name="T15" fmla="*/ 2533 h 2533"/>
                <a:gd name="T16" fmla="*/ 1643 w 2050"/>
                <a:gd name="T17" fmla="*/ 2533 h 2533"/>
                <a:gd name="T18" fmla="*/ 1643 w 2050"/>
                <a:gd name="T19" fmla="*/ 857 h 2533"/>
                <a:gd name="T20" fmla="*/ 1140 w 2050"/>
                <a:gd name="T21" fmla="*/ 359 h 2533"/>
                <a:gd name="T22" fmla="*/ 407 w 2050"/>
                <a:gd name="T23" fmla="*/ 1135 h 2533"/>
                <a:gd name="T24" fmla="*/ 407 w 2050"/>
                <a:gd name="T25" fmla="*/ 2533 h 2533"/>
                <a:gd name="T26" fmla="*/ 0 w 2050"/>
                <a:gd name="T27" fmla="*/ 2533 h 2533"/>
                <a:gd name="T28" fmla="*/ 0 w 2050"/>
                <a:gd name="T29" fmla="*/ 58 h 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0" h="2533">
                  <a:moveTo>
                    <a:pt x="0" y="58"/>
                  </a:moveTo>
                  <a:lnTo>
                    <a:pt x="0" y="58"/>
                  </a:lnTo>
                  <a:lnTo>
                    <a:pt x="383" y="58"/>
                  </a:lnTo>
                  <a:lnTo>
                    <a:pt x="383" y="450"/>
                  </a:lnTo>
                  <a:lnTo>
                    <a:pt x="393" y="450"/>
                  </a:lnTo>
                  <a:cubicBezTo>
                    <a:pt x="566" y="144"/>
                    <a:pt x="843" y="0"/>
                    <a:pt x="1198" y="0"/>
                  </a:cubicBezTo>
                  <a:cubicBezTo>
                    <a:pt x="1849" y="0"/>
                    <a:pt x="2050" y="374"/>
                    <a:pt x="2050" y="905"/>
                  </a:cubicBezTo>
                  <a:lnTo>
                    <a:pt x="2050" y="2533"/>
                  </a:lnTo>
                  <a:lnTo>
                    <a:pt x="1643" y="2533"/>
                  </a:lnTo>
                  <a:lnTo>
                    <a:pt x="1643" y="857"/>
                  </a:lnTo>
                  <a:cubicBezTo>
                    <a:pt x="1643" y="555"/>
                    <a:pt x="1452" y="359"/>
                    <a:pt x="1140" y="359"/>
                  </a:cubicBezTo>
                  <a:cubicBezTo>
                    <a:pt x="647" y="359"/>
                    <a:pt x="407" y="690"/>
                    <a:pt x="407" y="1135"/>
                  </a:cubicBezTo>
                  <a:lnTo>
                    <a:pt x="407" y="2533"/>
                  </a:lnTo>
                  <a:lnTo>
                    <a:pt x="0" y="2533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black">
            <a:xfrm>
              <a:off x="8189303" y="3703666"/>
              <a:ext cx="59932" cy="364745"/>
            </a:xfrm>
            <a:custGeom>
              <a:avLst/>
              <a:gdLst>
                <a:gd name="T0" fmla="*/ 0 w 408"/>
                <a:gd name="T1" fmla="*/ 0 h 2475"/>
                <a:gd name="T2" fmla="*/ 0 w 408"/>
                <a:gd name="T3" fmla="*/ 0 h 2475"/>
                <a:gd name="T4" fmla="*/ 408 w 408"/>
                <a:gd name="T5" fmla="*/ 0 h 2475"/>
                <a:gd name="T6" fmla="*/ 408 w 408"/>
                <a:gd name="T7" fmla="*/ 2475 h 2475"/>
                <a:gd name="T8" fmla="*/ 0 w 408"/>
                <a:gd name="T9" fmla="*/ 2475 h 2475"/>
                <a:gd name="T10" fmla="*/ 0 w 408"/>
                <a:gd name="T11" fmla="*/ 0 h 2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8" h="2475">
                  <a:moveTo>
                    <a:pt x="0" y="0"/>
                  </a:moveTo>
                  <a:lnTo>
                    <a:pt x="0" y="0"/>
                  </a:lnTo>
                  <a:lnTo>
                    <a:pt x="408" y="0"/>
                  </a:lnTo>
                  <a:lnTo>
                    <a:pt x="408" y="2475"/>
                  </a:lnTo>
                  <a:lnTo>
                    <a:pt x="0" y="247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black">
            <a:xfrm>
              <a:off x="8189303" y="3564470"/>
              <a:ext cx="59932" cy="73465"/>
            </a:xfrm>
            <a:custGeom>
              <a:avLst/>
              <a:gdLst>
                <a:gd name="T0" fmla="*/ 408 w 408"/>
                <a:gd name="T1" fmla="*/ 498 h 498"/>
                <a:gd name="T2" fmla="*/ 408 w 408"/>
                <a:gd name="T3" fmla="*/ 498 h 498"/>
                <a:gd name="T4" fmla="*/ 0 w 408"/>
                <a:gd name="T5" fmla="*/ 498 h 498"/>
                <a:gd name="T6" fmla="*/ 0 w 408"/>
                <a:gd name="T7" fmla="*/ 0 h 498"/>
                <a:gd name="T8" fmla="*/ 408 w 408"/>
                <a:gd name="T9" fmla="*/ 0 h 498"/>
                <a:gd name="T10" fmla="*/ 408 w 408"/>
                <a:gd name="T11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8" h="498">
                  <a:moveTo>
                    <a:pt x="408" y="498"/>
                  </a:moveTo>
                  <a:lnTo>
                    <a:pt x="408" y="498"/>
                  </a:lnTo>
                  <a:lnTo>
                    <a:pt x="0" y="498"/>
                  </a:lnTo>
                  <a:lnTo>
                    <a:pt x="0" y="0"/>
                  </a:lnTo>
                  <a:lnTo>
                    <a:pt x="408" y="0"/>
                  </a:lnTo>
                  <a:lnTo>
                    <a:pt x="408" y="4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black">
            <a:xfrm>
              <a:off x="7985664" y="3576714"/>
              <a:ext cx="63154" cy="73465"/>
            </a:xfrm>
            <a:custGeom>
              <a:avLst/>
              <a:gdLst>
                <a:gd name="T0" fmla="*/ 0 w 431"/>
                <a:gd name="T1" fmla="*/ 0 h 498"/>
                <a:gd name="T2" fmla="*/ 0 w 431"/>
                <a:gd name="T3" fmla="*/ 0 h 498"/>
                <a:gd name="T4" fmla="*/ 431 w 431"/>
                <a:gd name="T5" fmla="*/ 0 h 498"/>
                <a:gd name="T6" fmla="*/ 431 w 431"/>
                <a:gd name="T7" fmla="*/ 498 h 498"/>
                <a:gd name="T8" fmla="*/ 0 w 431"/>
                <a:gd name="T9" fmla="*/ 498 h 498"/>
                <a:gd name="T10" fmla="*/ 0 w 431"/>
                <a:gd name="T11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1" h="498">
                  <a:moveTo>
                    <a:pt x="0" y="0"/>
                  </a:moveTo>
                  <a:lnTo>
                    <a:pt x="0" y="0"/>
                  </a:lnTo>
                  <a:lnTo>
                    <a:pt x="431" y="0"/>
                  </a:lnTo>
                  <a:lnTo>
                    <a:pt x="431" y="498"/>
                  </a:lnTo>
                  <a:lnTo>
                    <a:pt x="0" y="49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black">
            <a:xfrm>
              <a:off x="7854201" y="3576714"/>
              <a:ext cx="63154" cy="73465"/>
            </a:xfrm>
            <a:custGeom>
              <a:avLst/>
              <a:gdLst>
                <a:gd name="T0" fmla="*/ 0 w 430"/>
                <a:gd name="T1" fmla="*/ 0 h 498"/>
                <a:gd name="T2" fmla="*/ 0 w 430"/>
                <a:gd name="T3" fmla="*/ 0 h 498"/>
                <a:gd name="T4" fmla="*/ 430 w 430"/>
                <a:gd name="T5" fmla="*/ 0 h 498"/>
                <a:gd name="T6" fmla="*/ 430 w 430"/>
                <a:gd name="T7" fmla="*/ 498 h 498"/>
                <a:gd name="T8" fmla="*/ 0 w 430"/>
                <a:gd name="T9" fmla="*/ 498 h 498"/>
                <a:gd name="T10" fmla="*/ 0 w 430"/>
                <a:gd name="T11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0" h="498">
                  <a:moveTo>
                    <a:pt x="0" y="0"/>
                  </a:moveTo>
                  <a:lnTo>
                    <a:pt x="0" y="0"/>
                  </a:lnTo>
                  <a:lnTo>
                    <a:pt x="430" y="0"/>
                  </a:lnTo>
                  <a:lnTo>
                    <a:pt x="430" y="498"/>
                  </a:lnTo>
                  <a:lnTo>
                    <a:pt x="0" y="49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10"/>
            <p:cNvSpPr>
              <a:spLocks noEditPoints="1"/>
            </p:cNvSpPr>
            <p:nvPr userDrawn="1"/>
          </p:nvSpPr>
          <p:spPr bwMode="black">
            <a:xfrm>
              <a:off x="7788469" y="3694644"/>
              <a:ext cx="340257" cy="382145"/>
            </a:xfrm>
            <a:custGeom>
              <a:avLst/>
              <a:gdLst>
                <a:gd name="T0" fmla="*/ 1667 w 2328"/>
                <a:gd name="T1" fmla="*/ 1255 h 2591"/>
                <a:gd name="T2" fmla="*/ 1667 w 2328"/>
                <a:gd name="T3" fmla="*/ 1255 h 2591"/>
                <a:gd name="T4" fmla="*/ 929 w 2328"/>
                <a:gd name="T5" fmla="*/ 1422 h 2591"/>
                <a:gd name="T6" fmla="*/ 431 w 2328"/>
                <a:gd name="T7" fmla="*/ 1868 h 2591"/>
                <a:gd name="T8" fmla="*/ 910 w 2328"/>
                <a:gd name="T9" fmla="*/ 2232 h 2591"/>
                <a:gd name="T10" fmla="*/ 1667 w 2328"/>
                <a:gd name="T11" fmla="*/ 1672 h 2591"/>
                <a:gd name="T12" fmla="*/ 1667 w 2328"/>
                <a:gd name="T13" fmla="*/ 1255 h 2591"/>
                <a:gd name="T14" fmla="*/ 2328 w 2328"/>
                <a:gd name="T15" fmla="*/ 2524 h 2591"/>
                <a:gd name="T16" fmla="*/ 2328 w 2328"/>
                <a:gd name="T17" fmla="*/ 2524 h 2591"/>
                <a:gd name="T18" fmla="*/ 2036 w 2328"/>
                <a:gd name="T19" fmla="*/ 2591 h 2591"/>
                <a:gd name="T20" fmla="*/ 1691 w 2328"/>
                <a:gd name="T21" fmla="*/ 2208 h 2591"/>
                <a:gd name="T22" fmla="*/ 819 w 2328"/>
                <a:gd name="T23" fmla="*/ 2591 h 2591"/>
                <a:gd name="T24" fmla="*/ 0 w 2328"/>
                <a:gd name="T25" fmla="*/ 1897 h 2591"/>
                <a:gd name="T26" fmla="*/ 838 w 2328"/>
                <a:gd name="T27" fmla="*/ 1135 h 2591"/>
                <a:gd name="T28" fmla="*/ 1672 w 2328"/>
                <a:gd name="T29" fmla="*/ 771 h 2591"/>
                <a:gd name="T30" fmla="*/ 1121 w 2328"/>
                <a:gd name="T31" fmla="*/ 359 h 2591"/>
                <a:gd name="T32" fmla="*/ 503 w 2328"/>
                <a:gd name="T33" fmla="*/ 829 h 2591"/>
                <a:gd name="T34" fmla="*/ 96 w 2328"/>
                <a:gd name="T35" fmla="*/ 829 h 2591"/>
                <a:gd name="T36" fmla="*/ 1145 w 2328"/>
                <a:gd name="T37" fmla="*/ 0 h 2591"/>
                <a:gd name="T38" fmla="*/ 2074 w 2328"/>
                <a:gd name="T39" fmla="*/ 680 h 2591"/>
                <a:gd name="T40" fmla="*/ 2074 w 2328"/>
                <a:gd name="T41" fmla="*/ 1954 h 2591"/>
                <a:gd name="T42" fmla="*/ 2203 w 2328"/>
                <a:gd name="T43" fmla="*/ 2232 h 2591"/>
                <a:gd name="T44" fmla="*/ 2328 w 2328"/>
                <a:gd name="T45" fmla="*/ 2208 h 2591"/>
                <a:gd name="T46" fmla="*/ 2328 w 2328"/>
                <a:gd name="T47" fmla="*/ 2524 h 2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28" h="2591">
                  <a:moveTo>
                    <a:pt x="1667" y="1255"/>
                  </a:moveTo>
                  <a:lnTo>
                    <a:pt x="1667" y="1255"/>
                  </a:lnTo>
                  <a:cubicBezTo>
                    <a:pt x="1509" y="1370"/>
                    <a:pt x="1203" y="1375"/>
                    <a:pt x="929" y="1422"/>
                  </a:cubicBezTo>
                  <a:cubicBezTo>
                    <a:pt x="661" y="1470"/>
                    <a:pt x="431" y="1566"/>
                    <a:pt x="431" y="1868"/>
                  </a:cubicBezTo>
                  <a:cubicBezTo>
                    <a:pt x="431" y="2136"/>
                    <a:pt x="661" y="2232"/>
                    <a:pt x="910" y="2232"/>
                  </a:cubicBezTo>
                  <a:cubicBezTo>
                    <a:pt x="1447" y="2232"/>
                    <a:pt x="1667" y="1897"/>
                    <a:pt x="1667" y="1672"/>
                  </a:cubicBezTo>
                  <a:lnTo>
                    <a:pt x="1667" y="1255"/>
                  </a:lnTo>
                  <a:close/>
                  <a:moveTo>
                    <a:pt x="2328" y="2524"/>
                  </a:moveTo>
                  <a:lnTo>
                    <a:pt x="2328" y="2524"/>
                  </a:lnTo>
                  <a:cubicBezTo>
                    <a:pt x="2256" y="2567"/>
                    <a:pt x="2165" y="2591"/>
                    <a:pt x="2036" y="2591"/>
                  </a:cubicBezTo>
                  <a:cubicBezTo>
                    <a:pt x="1825" y="2591"/>
                    <a:pt x="1691" y="2476"/>
                    <a:pt x="1691" y="2208"/>
                  </a:cubicBezTo>
                  <a:cubicBezTo>
                    <a:pt x="1466" y="2471"/>
                    <a:pt x="1164" y="2591"/>
                    <a:pt x="819" y="2591"/>
                  </a:cubicBezTo>
                  <a:cubicBezTo>
                    <a:pt x="369" y="2591"/>
                    <a:pt x="0" y="2390"/>
                    <a:pt x="0" y="1897"/>
                  </a:cubicBezTo>
                  <a:cubicBezTo>
                    <a:pt x="0" y="1336"/>
                    <a:pt x="417" y="1217"/>
                    <a:pt x="838" y="1135"/>
                  </a:cubicBezTo>
                  <a:cubicBezTo>
                    <a:pt x="1289" y="1049"/>
                    <a:pt x="1672" y="1078"/>
                    <a:pt x="1672" y="771"/>
                  </a:cubicBezTo>
                  <a:cubicBezTo>
                    <a:pt x="1672" y="417"/>
                    <a:pt x="1380" y="359"/>
                    <a:pt x="1121" y="359"/>
                  </a:cubicBezTo>
                  <a:cubicBezTo>
                    <a:pt x="776" y="359"/>
                    <a:pt x="523" y="465"/>
                    <a:pt x="503" y="829"/>
                  </a:cubicBezTo>
                  <a:lnTo>
                    <a:pt x="96" y="829"/>
                  </a:lnTo>
                  <a:cubicBezTo>
                    <a:pt x="120" y="215"/>
                    <a:pt x="594" y="0"/>
                    <a:pt x="1145" y="0"/>
                  </a:cubicBezTo>
                  <a:cubicBezTo>
                    <a:pt x="1590" y="0"/>
                    <a:pt x="2074" y="101"/>
                    <a:pt x="2074" y="680"/>
                  </a:cubicBezTo>
                  <a:lnTo>
                    <a:pt x="2074" y="1954"/>
                  </a:lnTo>
                  <a:cubicBezTo>
                    <a:pt x="2074" y="2145"/>
                    <a:pt x="2074" y="2232"/>
                    <a:pt x="2203" y="2232"/>
                  </a:cubicBezTo>
                  <a:cubicBezTo>
                    <a:pt x="2237" y="2232"/>
                    <a:pt x="2275" y="2227"/>
                    <a:pt x="2328" y="2208"/>
                  </a:cubicBezTo>
                  <a:lnTo>
                    <a:pt x="2328" y="25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black">
            <a:xfrm>
              <a:off x="7407613" y="3694644"/>
              <a:ext cx="343479" cy="513608"/>
            </a:xfrm>
            <a:custGeom>
              <a:avLst/>
              <a:gdLst>
                <a:gd name="T0" fmla="*/ 1149 w 2347"/>
                <a:gd name="T1" fmla="*/ 359 h 3482"/>
                <a:gd name="T2" fmla="*/ 1149 w 2347"/>
                <a:gd name="T3" fmla="*/ 359 h 3482"/>
                <a:gd name="T4" fmla="*/ 393 w 2347"/>
                <a:gd name="T5" fmla="*/ 1293 h 3482"/>
                <a:gd name="T6" fmla="*/ 1173 w 2347"/>
                <a:gd name="T7" fmla="*/ 2232 h 3482"/>
                <a:gd name="T8" fmla="*/ 1916 w 2347"/>
                <a:gd name="T9" fmla="*/ 1274 h 3482"/>
                <a:gd name="T10" fmla="*/ 1149 w 2347"/>
                <a:gd name="T11" fmla="*/ 359 h 3482"/>
                <a:gd name="T12" fmla="*/ 0 w 2347"/>
                <a:gd name="T13" fmla="*/ 58 h 3482"/>
                <a:gd name="T14" fmla="*/ 0 w 2347"/>
                <a:gd name="T15" fmla="*/ 58 h 3482"/>
                <a:gd name="T16" fmla="*/ 407 w 2347"/>
                <a:gd name="T17" fmla="*/ 58 h 3482"/>
                <a:gd name="T18" fmla="*/ 407 w 2347"/>
                <a:gd name="T19" fmla="*/ 393 h 3482"/>
                <a:gd name="T20" fmla="*/ 417 w 2347"/>
                <a:gd name="T21" fmla="*/ 393 h 3482"/>
                <a:gd name="T22" fmla="*/ 1207 w 2347"/>
                <a:gd name="T23" fmla="*/ 0 h 3482"/>
                <a:gd name="T24" fmla="*/ 2347 w 2347"/>
                <a:gd name="T25" fmla="*/ 1302 h 3482"/>
                <a:gd name="T26" fmla="*/ 1216 w 2347"/>
                <a:gd name="T27" fmla="*/ 2591 h 3482"/>
                <a:gd name="T28" fmla="*/ 417 w 2347"/>
                <a:gd name="T29" fmla="*/ 2203 h 3482"/>
                <a:gd name="T30" fmla="*/ 407 w 2347"/>
                <a:gd name="T31" fmla="*/ 2203 h 3482"/>
                <a:gd name="T32" fmla="*/ 407 w 2347"/>
                <a:gd name="T33" fmla="*/ 3482 h 3482"/>
                <a:gd name="T34" fmla="*/ 0 w 2347"/>
                <a:gd name="T35" fmla="*/ 3482 h 3482"/>
                <a:gd name="T36" fmla="*/ 0 w 2347"/>
                <a:gd name="T37" fmla="*/ 58 h 3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47" h="3482">
                  <a:moveTo>
                    <a:pt x="1149" y="359"/>
                  </a:moveTo>
                  <a:lnTo>
                    <a:pt x="1149" y="359"/>
                  </a:lnTo>
                  <a:cubicBezTo>
                    <a:pt x="604" y="359"/>
                    <a:pt x="393" y="829"/>
                    <a:pt x="393" y="1293"/>
                  </a:cubicBezTo>
                  <a:cubicBezTo>
                    <a:pt x="393" y="1781"/>
                    <a:pt x="613" y="2232"/>
                    <a:pt x="1173" y="2232"/>
                  </a:cubicBezTo>
                  <a:cubicBezTo>
                    <a:pt x="1729" y="2232"/>
                    <a:pt x="1916" y="1758"/>
                    <a:pt x="1916" y="1274"/>
                  </a:cubicBezTo>
                  <a:cubicBezTo>
                    <a:pt x="1916" y="809"/>
                    <a:pt x="1676" y="359"/>
                    <a:pt x="1149" y="359"/>
                  </a:cubicBezTo>
                  <a:close/>
                  <a:moveTo>
                    <a:pt x="0" y="58"/>
                  </a:moveTo>
                  <a:lnTo>
                    <a:pt x="0" y="58"/>
                  </a:lnTo>
                  <a:lnTo>
                    <a:pt x="407" y="58"/>
                  </a:lnTo>
                  <a:lnTo>
                    <a:pt x="407" y="393"/>
                  </a:lnTo>
                  <a:lnTo>
                    <a:pt x="417" y="393"/>
                  </a:lnTo>
                  <a:cubicBezTo>
                    <a:pt x="550" y="120"/>
                    <a:pt x="867" y="0"/>
                    <a:pt x="1207" y="0"/>
                  </a:cubicBezTo>
                  <a:cubicBezTo>
                    <a:pt x="1968" y="0"/>
                    <a:pt x="2347" y="604"/>
                    <a:pt x="2347" y="1302"/>
                  </a:cubicBezTo>
                  <a:cubicBezTo>
                    <a:pt x="2347" y="2002"/>
                    <a:pt x="1973" y="2591"/>
                    <a:pt x="1216" y="2591"/>
                  </a:cubicBezTo>
                  <a:cubicBezTo>
                    <a:pt x="963" y="2591"/>
                    <a:pt x="599" y="2495"/>
                    <a:pt x="417" y="2203"/>
                  </a:cubicBezTo>
                  <a:lnTo>
                    <a:pt x="407" y="2203"/>
                  </a:lnTo>
                  <a:lnTo>
                    <a:pt x="407" y="3482"/>
                  </a:lnTo>
                  <a:lnTo>
                    <a:pt x="0" y="3482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2"/>
            <p:cNvSpPr>
              <a:spLocks/>
            </p:cNvSpPr>
            <p:nvPr userDrawn="1"/>
          </p:nvSpPr>
          <p:spPr bwMode="black">
            <a:xfrm>
              <a:off x="7044157" y="3694644"/>
              <a:ext cx="299658" cy="373767"/>
            </a:xfrm>
            <a:custGeom>
              <a:avLst/>
              <a:gdLst>
                <a:gd name="T0" fmla="*/ 0 w 2050"/>
                <a:gd name="T1" fmla="*/ 58 h 2533"/>
                <a:gd name="T2" fmla="*/ 0 w 2050"/>
                <a:gd name="T3" fmla="*/ 58 h 2533"/>
                <a:gd name="T4" fmla="*/ 383 w 2050"/>
                <a:gd name="T5" fmla="*/ 58 h 2533"/>
                <a:gd name="T6" fmla="*/ 383 w 2050"/>
                <a:gd name="T7" fmla="*/ 450 h 2533"/>
                <a:gd name="T8" fmla="*/ 393 w 2050"/>
                <a:gd name="T9" fmla="*/ 450 h 2533"/>
                <a:gd name="T10" fmla="*/ 1197 w 2050"/>
                <a:gd name="T11" fmla="*/ 0 h 2533"/>
                <a:gd name="T12" fmla="*/ 2050 w 2050"/>
                <a:gd name="T13" fmla="*/ 905 h 2533"/>
                <a:gd name="T14" fmla="*/ 2050 w 2050"/>
                <a:gd name="T15" fmla="*/ 2533 h 2533"/>
                <a:gd name="T16" fmla="*/ 1642 w 2050"/>
                <a:gd name="T17" fmla="*/ 2533 h 2533"/>
                <a:gd name="T18" fmla="*/ 1642 w 2050"/>
                <a:gd name="T19" fmla="*/ 857 h 2533"/>
                <a:gd name="T20" fmla="*/ 1140 w 2050"/>
                <a:gd name="T21" fmla="*/ 359 h 2533"/>
                <a:gd name="T22" fmla="*/ 407 w 2050"/>
                <a:gd name="T23" fmla="*/ 1135 h 2533"/>
                <a:gd name="T24" fmla="*/ 407 w 2050"/>
                <a:gd name="T25" fmla="*/ 2533 h 2533"/>
                <a:gd name="T26" fmla="*/ 0 w 2050"/>
                <a:gd name="T27" fmla="*/ 2533 h 2533"/>
                <a:gd name="T28" fmla="*/ 0 w 2050"/>
                <a:gd name="T29" fmla="*/ 58 h 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0" h="2533">
                  <a:moveTo>
                    <a:pt x="0" y="58"/>
                  </a:moveTo>
                  <a:lnTo>
                    <a:pt x="0" y="58"/>
                  </a:lnTo>
                  <a:lnTo>
                    <a:pt x="383" y="58"/>
                  </a:lnTo>
                  <a:lnTo>
                    <a:pt x="383" y="450"/>
                  </a:lnTo>
                  <a:lnTo>
                    <a:pt x="393" y="450"/>
                  </a:lnTo>
                  <a:cubicBezTo>
                    <a:pt x="565" y="144"/>
                    <a:pt x="843" y="0"/>
                    <a:pt x="1197" y="0"/>
                  </a:cubicBezTo>
                  <a:cubicBezTo>
                    <a:pt x="1848" y="0"/>
                    <a:pt x="2050" y="374"/>
                    <a:pt x="2050" y="905"/>
                  </a:cubicBezTo>
                  <a:lnTo>
                    <a:pt x="2050" y="2533"/>
                  </a:lnTo>
                  <a:lnTo>
                    <a:pt x="1642" y="2533"/>
                  </a:lnTo>
                  <a:lnTo>
                    <a:pt x="1642" y="857"/>
                  </a:lnTo>
                  <a:cubicBezTo>
                    <a:pt x="1642" y="555"/>
                    <a:pt x="1451" y="359"/>
                    <a:pt x="1140" y="359"/>
                  </a:cubicBezTo>
                  <a:cubicBezTo>
                    <a:pt x="646" y="359"/>
                    <a:pt x="407" y="690"/>
                    <a:pt x="407" y="1135"/>
                  </a:cubicBezTo>
                  <a:lnTo>
                    <a:pt x="407" y="2533"/>
                  </a:lnTo>
                  <a:lnTo>
                    <a:pt x="0" y="2533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1" name="Freeform 13"/>
            <p:cNvSpPr>
              <a:spLocks noEditPoints="1"/>
            </p:cNvSpPr>
            <p:nvPr userDrawn="1"/>
          </p:nvSpPr>
          <p:spPr bwMode="black">
            <a:xfrm>
              <a:off x="6662656" y="3694644"/>
              <a:ext cx="337679" cy="382145"/>
            </a:xfrm>
            <a:custGeom>
              <a:avLst/>
              <a:gdLst>
                <a:gd name="T0" fmla="*/ 1854 w 2309"/>
                <a:gd name="T1" fmla="*/ 1059 h 2591"/>
                <a:gd name="T2" fmla="*/ 1854 w 2309"/>
                <a:gd name="T3" fmla="*/ 1059 h 2591"/>
                <a:gd name="T4" fmla="*/ 1140 w 2309"/>
                <a:gd name="T5" fmla="*/ 359 h 2591"/>
                <a:gd name="T6" fmla="*/ 431 w 2309"/>
                <a:gd name="T7" fmla="*/ 1059 h 2591"/>
                <a:gd name="T8" fmla="*/ 1854 w 2309"/>
                <a:gd name="T9" fmla="*/ 1059 h 2591"/>
                <a:gd name="T10" fmla="*/ 2246 w 2309"/>
                <a:gd name="T11" fmla="*/ 1748 h 2591"/>
                <a:gd name="T12" fmla="*/ 2246 w 2309"/>
                <a:gd name="T13" fmla="*/ 1748 h 2591"/>
                <a:gd name="T14" fmla="*/ 1188 w 2309"/>
                <a:gd name="T15" fmla="*/ 2591 h 2591"/>
                <a:gd name="T16" fmla="*/ 0 w 2309"/>
                <a:gd name="T17" fmla="*/ 1288 h 2591"/>
                <a:gd name="T18" fmla="*/ 1164 w 2309"/>
                <a:gd name="T19" fmla="*/ 0 h 2591"/>
                <a:gd name="T20" fmla="*/ 2285 w 2309"/>
                <a:gd name="T21" fmla="*/ 1417 h 2591"/>
                <a:gd name="T22" fmla="*/ 431 w 2309"/>
                <a:gd name="T23" fmla="*/ 1417 h 2591"/>
                <a:gd name="T24" fmla="*/ 1202 w 2309"/>
                <a:gd name="T25" fmla="*/ 2232 h 2591"/>
                <a:gd name="T26" fmla="*/ 1844 w 2309"/>
                <a:gd name="T27" fmla="*/ 1748 h 2591"/>
                <a:gd name="T28" fmla="*/ 2246 w 2309"/>
                <a:gd name="T29" fmla="*/ 1748 h 2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9" h="2591">
                  <a:moveTo>
                    <a:pt x="1854" y="1059"/>
                  </a:moveTo>
                  <a:lnTo>
                    <a:pt x="1854" y="1059"/>
                  </a:lnTo>
                  <a:cubicBezTo>
                    <a:pt x="1834" y="670"/>
                    <a:pt x="1542" y="359"/>
                    <a:pt x="1140" y="359"/>
                  </a:cubicBezTo>
                  <a:cubicBezTo>
                    <a:pt x="714" y="359"/>
                    <a:pt x="460" y="680"/>
                    <a:pt x="431" y="1059"/>
                  </a:cubicBezTo>
                  <a:lnTo>
                    <a:pt x="1854" y="1059"/>
                  </a:lnTo>
                  <a:close/>
                  <a:moveTo>
                    <a:pt x="2246" y="1748"/>
                  </a:moveTo>
                  <a:lnTo>
                    <a:pt x="2246" y="1748"/>
                  </a:lnTo>
                  <a:cubicBezTo>
                    <a:pt x="2136" y="2294"/>
                    <a:pt x="1744" y="2591"/>
                    <a:pt x="1188" y="2591"/>
                  </a:cubicBezTo>
                  <a:cubicBezTo>
                    <a:pt x="398" y="2591"/>
                    <a:pt x="24" y="2045"/>
                    <a:pt x="0" y="1288"/>
                  </a:cubicBezTo>
                  <a:cubicBezTo>
                    <a:pt x="0" y="546"/>
                    <a:pt x="489" y="0"/>
                    <a:pt x="1164" y="0"/>
                  </a:cubicBezTo>
                  <a:cubicBezTo>
                    <a:pt x="2040" y="0"/>
                    <a:pt x="2309" y="819"/>
                    <a:pt x="2285" y="1417"/>
                  </a:cubicBezTo>
                  <a:lnTo>
                    <a:pt x="431" y="1417"/>
                  </a:lnTo>
                  <a:cubicBezTo>
                    <a:pt x="417" y="1849"/>
                    <a:pt x="661" y="2232"/>
                    <a:pt x="1202" y="2232"/>
                  </a:cubicBezTo>
                  <a:cubicBezTo>
                    <a:pt x="1538" y="2232"/>
                    <a:pt x="1772" y="2069"/>
                    <a:pt x="1844" y="1748"/>
                  </a:cubicBezTo>
                  <a:lnTo>
                    <a:pt x="2246" y="1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14"/>
            <p:cNvSpPr>
              <a:spLocks noEditPoints="1"/>
            </p:cNvSpPr>
            <p:nvPr userDrawn="1"/>
          </p:nvSpPr>
          <p:spPr bwMode="black">
            <a:xfrm>
              <a:off x="6286311" y="3694644"/>
              <a:ext cx="337679" cy="382145"/>
            </a:xfrm>
            <a:custGeom>
              <a:avLst/>
              <a:gdLst>
                <a:gd name="T0" fmla="*/ 1853 w 2308"/>
                <a:gd name="T1" fmla="*/ 1059 h 2591"/>
                <a:gd name="T2" fmla="*/ 1853 w 2308"/>
                <a:gd name="T3" fmla="*/ 1059 h 2591"/>
                <a:gd name="T4" fmla="*/ 1140 w 2308"/>
                <a:gd name="T5" fmla="*/ 359 h 2591"/>
                <a:gd name="T6" fmla="*/ 431 w 2308"/>
                <a:gd name="T7" fmla="*/ 1059 h 2591"/>
                <a:gd name="T8" fmla="*/ 1853 w 2308"/>
                <a:gd name="T9" fmla="*/ 1059 h 2591"/>
                <a:gd name="T10" fmla="*/ 2246 w 2308"/>
                <a:gd name="T11" fmla="*/ 1748 h 2591"/>
                <a:gd name="T12" fmla="*/ 2246 w 2308"/>
                <a:gd name="T13" fmla="*/ 1748 h 2591"/>
                <a:gd name="T14" fmla="*/ 1188 w 2308"/>
                <a:gd name="T15" fmla="*/ 2591 h 2591"/>
                <a:gd name="T16" fmla="*/ 0 w 2308"/>
                <a:gd name="T17" fmla="*/ 1288 h 2591"/>
                <a:gd name="T18" fmla="*/ 1164 w 2308"/>
                <a:gd name="T19" fmla="*/ 0 h 2591"/>
                <a:gd name="T20" fmla="*/ 2284 w 2308"/>
                <a:gd name="T21" fmla="*/ 1417 h 2591"/>
                <a:gd name="T22" fmla="*/ 431 w 2308"/>
                <a:gd name="T23" fmla="*/ 1417 h 2591"/>
                <a:gd name="T24" fmla="*/ 1202 w 2308"/>
                <a:gd name="T25" fmla="*/ 2232 h 2591"/>
                <a:gd name="T26" fmla="*/ 1844 w 2308"/>
                <a:gd name="T27" fmla="*/ 1748 h 2591"/>
                <a:gd name="T28" fmla="*/ 2246 w 2308"/>
                <a:gd name="T29" fmla="*/ 1748 h 2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8" h="2591">
                  <a:moveTo>
                    <a:pt x="1853" y="1059"/>
                  </a:moveTo>
                  <a:lnTo>
                    <a:pt x="1853" y="1059"/>
                  </a:lnTo>
                  <a:cubicBezTo>
                    <a:pt x="1834" y="670"/>
                    <a:pt x="1542" y="359"/>
                    <a:pt x="1140" y="359"/>
                  </a:cubicBezTo>
                  <a:cubicBezTo>
                    <a:pt x="713" y="359"/>
                    <a:pt x="460" y="680"/>
                    <a:pt x="431" y="1059"/>
                  </a:cubicBezTo>
                  <a:lnTo>
                    <a:pt x="1853" y="1059"/>
                  </a:lnTo>
                  <a:close/>
                  <a:moveTo>
                    <a:pt x="2246" y="1748"/>
                  </a:moveTo>
                  <a:lnTo>
                    <a:pt x="2246" y="1748"/>
                  </a:lnTo>
                  <a:cubicBezTo>
                    <a:pt x="2136" y="2294"/>
                    <a:pt x="1743" y="2591"/>
                    <a:pt x="1188" y="2591"/>
                  </a:cubicBezTo>
                  <a:cubicBezTo>
                    <a:pt x="397" y="2591"/>
                    <a:pt x="24" y="2045"/>
                    <a:pt x="0" y="1288"/>
                  </a:cubicBezTo>
                  <a:cubicBezTo>
                    <a:pt x="0" y="546"/>
                    <a:pt x="489" y="0"/>
                    <a:pt x="1164" y="0"/>
                  </a:cubicBezTo>
                  <a:cubicBezTo>
                    <a:pt x="2040" y="0"/>
                    <a:pt x="2308" y="819"/>
                    <a:pt x="2284" y="1417"/>
                  </a:cubicBezTo>
                  <a:lnTo>
                    <a:pt x="431" y="1417"/>
                  </a:lnTo>
                  <a:cubicBezTo>
                    <a:pt x="417" y="1849"/>
                    <a:pt x="661" y="2232"/>
                    <a:pt x="1202" y="2232"/>
                  </a:cubicBezTo>
                  <a:cubicBezTo>
                    <a:pt x="1537" y="2232"/>
                    <a:pt x="1772" y="2069"/>
                    <a:pt x="1844" y="1748"/>
                  </a:cubicBezTo>
                  <a:lnTo>
                    <a:pt x="2246" y="1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Freeform 15"/>
            <p:cNvSpPr>
              <a:spLocks/>
            </p:cNvSpPr>
            <p:nvPr userDrawn="1"/>
          </p:nvSpPr>
          <p:spPr bwMode="black">
            <a:xfrm>
              <a:off x="6066562" y="3594113"/>
              <a:ext cx="193328" cy="474298"/>
            </a:xfrm>
            <a:custGeom>
              <a:avLst/>
              <a:gdLst>
                <a:gd name="T0" fmla="*/ 829 w 1322"/>
                <a:gd name="T1" fmla="*/ 743 h 3218"/>
                <a:gd name="T2" fmla="*/ 829 w 1322"/>
                <a:gd name="T3" fmla="*/ 743 h 3218"/>
                <a:gd name="T4" fmla="*/ 1322 w 1322"/>
                <a:gd name="T5" fmla="*/ 743 h 3218"/>
                <a:gd name="T6" fmla="*/ 1322 w 1322"/>
                <a:gd name="T7" fmla="*/ 1102 h 3218"/>
                <a:gd name="T8" fmla="*/ 829 w 1322"/>
                <a:gd name="T9" fmla="*/ 1102 h 3218"/>
                <a:gd name="T10" fmla="*/ 829 w 1322"/>
                <a:gd name="T11" fmla="*/ 2639 h 3218"/>
                <a:gd name="T12" fmla="*/ 1135 w 1322"/>
                <a:gd name="T13" fmla="*/ 2859 h 3218"/>
                <a:gd name="T14" fmla="*/ 1322 w 1322"/>
                <a:gd name="T15" fmla="*/ 2859 h 3218"/>
                <a:gd name="T16" fmla="*/ 1322 w 1322"/>
                <a:gd name="T17" fmla="*/ 3218 h 3218"/>
                <a:gd name="T18" fmla="*/ 1011 w 1322"/>
                <a:gd name="T19" fmla="*/ 3218 h 3218"/>
                <a:gd name="T20" fmla="*/ 422 w 1322"/>
                <a:gd name="T21" fmla="*/ 2677 h 3218"/>
                <a:gd name="T22" fmla="*/ 422 w 1322"/>
                <a:gd name="T23" fmla="*/ 1102 h 3218"/>
                <a:gd name="T24" fmla="*/ 0 w 1322"/>
                <a:gd name="T25" fmla="*/ 1102 h 3218"/>
                <a:gd name="T26" fmla="*/ 0 w 1322"/>
                <a:gd name="T27" fmla="*/ 743 h 3218"/>
                <a:gd name="T28" fmla="*/ 422 w 1322"/>
                <a:gd name="T29" fmla="*/ 743 h 3218"/>
                <a:gd name="T30" fmla="*/ 422 w 1322"/>
                <a:gd name="T31" fmla="*/ 0 h 3218"/>
                <a:gd name="T32" fmla="*/ 829 w 1322"/>
                <a:gd name="T33" fmla="*/ 0 h 3218"/>
                <a:gd name="T34" fmla="*/ 829 w 1322"/>
                <a:gd name="T35" fmla="*/ 743 h 3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22" h="3218">
                  <a:moveTo>
                    <a:pt x="829" y="743"/>
                  </a:moveTo>
                  <a:lnTo>
                    <a:pt x="829" y="743"/>
                  </a:lnTo>
                  <a:lnTo>
                    <a:pt x="1322" y="743"/>
                  </a:lnTo>
                  <a:lnTo>
                    <a:pt x="1322" y="1102"/>
                  </a:lnTo>
                  <a:lnTo>
                    <a:pt x="829" y="1102"/>
                  </a:lnTo>
                  <a:lnTo>
                    <a:pt x="829" y="2639"/>
                  </a:lnTo>
                  <a:cubicBezTo>
                    <a:pt x="829" y="2826"/>
                    <a:pt x="882" y="2859"/>
                    <a:pt x="1135" y="2859"/>
                  </a:cubicBezTo>
                  <a:lnTo>
                    <a:pt x="1322" y="2859"/>
                  </a:lnTo>
                  <a:lnTo>
                    <a:pt x="1322" y="3218"/>
                  </a:lnTo>
                  <a:lnTo>
                    <a:pt x="1011" y="3218"/>
                  </a:lnTo>
                  <a:cubicBezTo>
                    <a:pt x="590" y="3218"/>
                    <a:pt x="422" y="3132"/>
                    <a:pt x="422" y="2677"/>
                  </a:cubicBezTo>
                  <a:lnTo>
                    <a:pt x="422" y="1102"/>
                  </a:lnTo>
                  <a:lnTo>
                    <a:pt x="0" y="1102"/>
                  </a:lnTo>
                  <a:lnTo>
                    <a:pt x="0" y="743"/>
                  </a:lnTo>
                  <a:lnTo>
                    <a:pt x="422" y="743"/>
                  </a:lnTo>
                  <a:lnTo>
                    <a:pt x="422" y="0"/>
                  </a:lnTo>
                  <a:lnTo>
                    <a:pt x="829" y="0"/>
                  </a:lnTo>
                  <a:lnTo>
                    <a:pt x="829" y="7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16"/>
            <p:cNvSpPr>
              <a:spLocks noEditPoints="1"/>
            </p:cNvSpPr>
            <p:nvPr userDrawn="1"/>
          </p:nvSpPr>
          <p:spPr bwMode="black">
            <a:xfrm>
              <a:off x="5723727" y="3694644"/>
              <a:ext cx="337679" cy="382145"/>
            </a:xfrm>
            <a:custGeom>
              <a:avLst/>
              <a:gdLst>
                <a:gd name="T0" fmla="*/ 1854 w 2308"/>
                <a:gd name="T1" fmla="*/ 1059 h 2591"/>
                <a:gd name="T2" fmla="*/ 1854 w 2308"/>
                <a:gd name="T3" fmla="*/ 1059 h 2591"/>
                <a:gd name="T4" fmla="*/ 1140 w 2308"/>
                <a:gd name="T5" fmla="*/ 359 h 2591"/>
                <a:gd name="T6" fmla="*/ 431 w 2308"/>
                <a:gd name="T7" fmla="*/ 1059 h 2591"/>
                <a:gd name="T8" fmla="*/ 1854 w 2308"/>
                <a:gd name="T9" fmla="*/ 1059 h 2591"/>
                <a:gd name="T10" fmla="*/ 2246 w 2308"/>
                <a:gd name="T11" fmla="*/ 1748 h 2591"/>
                <a:gd name="T12" fmla="*/ 2246 w 2308"/>
                <a:gd name="T13" fmla="*/ 1748 h 2591"/>
                <a:gd name="T14" fmla="*/ 1188 w 2308"/>
                <a:gd name="T15" fmla="*/ 2591 h 2591"/>
                <a:gd name="T16" fmla="*/ 0 w 2308"/>
                <a:gd name="T17" fmla="*/ 1288 h 2591"/>
                <a:gd name="T18" fmla="*/ 1164 w 2308"/>
                <a:gd name="T19" fmla="*/ 0 h 2591"/>
                <a:gd name="T20" fmla="*/ 2285 w 2308"/>
                <a:gd name="T21" fmla="*/ 1417 h 2591"/>
                <a:gd name="T22" fmla="*/ 431 w 2308"/>
                <a:gd name="T23" fmla="*/ 1417 h 2591"/>
                <a:gd name="T24" fmla="*/ 1202 w 2308"/>
                <a:gd name="T25" fmla="*/ 2232 h 2591"/>
                <a:gd name="T26" fmla="*/ 1844 w 2308"/>
                <a:gd name="T27" fmla="*/ 1748 h 2591"/>
                <a:gd name="T28" fmla="*/ 2246 w 2308"/>
                <a:gd name="T29" fmla="*/ 1748 h 2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8" h="2591">
                  <a:moveTo>
                    <a:pt x="1854" y="1059"/>
                  </a:moveTo>
                  <a:lnTo>
                    <a:pt x="1854" y="1059"/>
                  </a:lnTo>
                  <a:cubicBezTo>
                    <a:pt x="1834" y="670"/>
                    <a:pt x="1542" y="359"/>
                    <a:pt x="1140" y="359"/>
                  </a:cubicBezTo>
                  <a:cubicBezTo>
                    <a:pt x="714" y="359"/>
                    <a:pt x="460" y="680"/>
                    <a:pt x="431" y="1059"/>
                  </a:cubicBezTo>
                  <a:lnTo>
                    <a:pt x="1854" y="1059"/>
                  </a:lnTo>
                  <a:close/>
                  <a:moveTo>
                    <a:pt x="2246" y="1748"/>
                  </a:moveTo>
                  <a:lnTo>
                    <a:pt x="2246" y="1748"/>
                  </a:lnTo>
                  <a:cubicBezTo>
                    <a:pt x="2136" y="2294"/>
                    <a:pt x="1743" y="2591"/>
                    <a:pt x="1188" y="2591"/>
                  </a:cubicBezTo>
                  <a:cubicBezTo>
                    <a:pt x="398" y="2591"/>
                    <a:pt x="24" y="2045"/>
                    <a:pt x="0" y="1288"/>
                  </a:cubicBezTo>
                  <a:cubicBezTo>
                    <a:pt x="0" y="546"/>
                    <a:pt x="489" y="0"/>
                    <a:pt x="1164" y="0"/>
                  </a:cubicBezTo>
                  <a:cubicBezTo>
                    <a:pt x="2040" y="0"/>
                    <a:pt x="2308" y="819"/>
                    <a:pt x="2285" y="1417"/>
                  </a:cubicBezTo>
                  <a:lnTo>
                    <a:pt x="431" y="1417"/>
                  </a:lnTo>
                  <a:cubicBezTo>
                    <a:pt x="417" y="1849"/>
                    <a:pt x="661" y="2232"/>
                    <a:pt x="1202" y="2232"/>
                  </a:cubicBezTo>
                  <a:cubicBezTo>
                    <a:pt x="1537" y="2232"/>
                    <a:pt x="1772" y="2069"/>
                    <a:pt x="1844" y="1748"/>
                  </a:cubicBezTo>
                  <a:lnTo>
                    <a:pt x="2246" y="1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7"/>
            <p:cNvSpPr>
              <a:spLocks/>
            </p:cNvSpPr>
            <p:nvPr userDrawn="1"/>
          </p:nvSpPr>
          <p:spPr bwMode="black">
            <a:xfrm>
              <a:off x="5221075" y="3694644"/>
              <a:ext cx="300303" cy="373767"/>
            </a:xfrm>
            <a:custGeom>
              <a:avLst/>
              <a:gdLst>
                <a:gd name="T0" fmla="*/ 0 w 2050"/>
                <a:gd name="T1" fmla="*/ 58 h 2533"/>
                <a:gd name="T2" fmla="*/ 0 w 2050"/>
                <a:gd name="T3" fmla="*/ 58 h 2533"/>
                <a:gd name="T4" fmla="*/ 383 w 2050"/>
                <a:gd name="T5" fmla="*/ 58 h 2533"/>
                <a:gd name="T6" fmla="*/ 383 w 2050"/>
                <a:gd name="T7" fmla="*/ 450 h 2533"/>
                <a:gd name="T8" fmla="*/ 393 w 2050"/>
                <a:gd name="T9" fmla="*/ 450 h 2533"/>
                <a:gd name="T10" fmla="*/ 1197 w 2050"/>
                <a:gd name="T11" fmla="*/ 0 h 2533"/>
                <a:gd name="T12" fmla="*/ 2050 w 2050"/>
                <a:gd name="T13" fmla="*/ 905 h 2533"/>
                <a:gd name="T14" fmla="*/ 2050 w 2050"/>
                <a:gd name="T15" fmla="*/ 2533 h 2533"/>
                <a:gd name="T16" fmla="*/ 1643 w 2050"/>
                <a:gd name="T17" fmla="*/ 2533 h 2533"/>
                <a:gd name="T18" fmla="*/ 1643 w 2050"/>
                <a:gd name="T19" fmla="*/ 857 h 2533"/>
                <a:gd name="T20" fmla="*/ 1140 w 2050"/>
                <a:gd name="T21" fmla="*/ 359 h 2533"/>
                <a:gd name="T22" fmla="*/ 407 w 2050"/>
                <a:gd name="T23" fmla="*/ 1135 h 2533"/>
                <a:gd name="T24" fmla="*/ 407 w 2050"/>
                <a:gd name="T25" fmla="*/ 2533 h 2533"/>
                <a:gd name="T26" fmla="*/ 0 w 2050"/>
                <a:gd name="T27" fmla="*/ 2533 h 2533"/>
                <a:gd name="T28" fmla="*/ 0 w 2050"/>
                <a:gd name="T29" fmla="*/ 58 h 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0" h="2533">
                  <a:moveTo>
                    <a:pt x="0" y="58"/>
                  </a:moveTo>
                  <a:lnTo>
                    <a:pt x="0" y="58"/>
                  </a:lnTo>
                  <a:lnTo>
                    <a:pt x="383" y="58"/>
                  </a:lnTo>
                  <a:lnTo>
                    <a:pt x="383" y="450"/>
                  </a:lnTo>
                  <a:lnTo>
                    <a:pt x="393" y="450"/>
                  </a:lnTo>
                  <a:cubicBezTo>
                    <a:pt x="565" y="144"/>
                    <a:pt x="843" y="0"/>
                    <a:pt x="1197" y="0"/>
                  </a:cubicBezTo>
                  <a:cubicBezTo>
                    <a:pt x="1849" y="0"/>
                    <a:pt x="2050" y="374"/>
                    <a:pt x="2050" y="905"/>
                  </a:cubicBezTo>
                  <a:lnTo>
                    <a:pt x="2050" y="2533"/>
                  </a:lnTo>
                  <a:lnTo>
                    <a:pt x="1643" y="2533"/>
                  </a:lnTo>
                  <a:lnTo>
                    <a:pt x="1643" y="857"/>
                  </a:lnTo>
                  <a:cubicBezTo>
                    <a:pt x="1643" y="555"/>
                    <a:pt x="1451" y="359"/>
                    <a:pt x="1140" y="359"/>
                  </a:cubicBezTo>
                  <a:cubicBezTo>
                    <a:pt x="647" y="359"/>
                    <a:pt x="407" y="690"/>
                    <a:pt x="407" y="1135"/>
                  </a:cubicBezTo>
                  <a:lnTo>
                    <a:pt x="407" y="2533"/>
                  </a:lnTo>
                  <a:lnTo>
                    <a:pt x="0" y="2533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18"/>
            <p:cNvSpPr>
              <a:spLocks noEditPoints="1"/>
            </p:cNvSpPr>
            <p:nvPr userDrawn="1"/>
          </p:nvSpPr>
          <p:spPr bwMode="black">
            <a:xfrm>
              <a:off x="4815086" y="3694644"/>
              <a:ext cx="351857" cy="382145"/>
            </a:xfrm>
            <a:custGeom>
              <a:avLst/>
              <a:gdLst>
                <a:gd name="T0" fmla="*/ 1203 w 2405"/>
                <a:gd name="T1" fmla="*/ 2232 h 2591"/>
                <a:gd name="T2" fmla="*/ 1203 w 2405"/>
                <a:gd name="T3" fmla="*/ 2232 h 2591"/>
                <a:gd name="T4" fmla="*/ 1974 w 2405"/>
                <a:gd name="T5" fmla="*/ 1298 h 2591"/>
                <a:gd name="T6" fmla="*/ 1203 w 2405"/>
                <a:gd name="T7" fmla="*/ 359 h 2591"/>
                <a:gd name="T8" fmla="*/ 432 w 2405"/>
                <a:gd name="T9" fmla="*/ 1298 h 2591"/>
                <a:gd name="T10" fmla="*/ 1203 w 2405"/>
                <a:gd name="T11" fmla="*/ 2232 h 2591"/>
                <a:gd name="T12" fmla="*/ 1203 w 2405"/>
                <a:gd name="T13" fmla="*/ 0 h 2591"/>
                <a:gd name="T14" fmla="*/ 1203 w 2405"/>
                <a:gd name="T15" fmla="*/ 0 h 2591"/>
                <a:gd name="T16" fmla="*/ 2405 w 2405"/>
                <a:gd name="T17" fmla="*/ 1298 h 2591"/>
                <a:gd name="T18" fmla="*/ 1203 w 2405"/>
                <a:gd name="T19" fmla="*/ 2591 h 2591"/>
                <a:gd name="T20" fmla="*/ 0 w 2405"/>
                <a:gd name="T21" fmla="*/ 1298 h 2591"/>
                <a:gd name="T22" fmla="*/ 1203 w 2405"/>
                <a:gd name="T23" fmla="*/ 0 h 2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5" h="2591">
                  <a:moveTo>
                    <a:pt x="1203" y="2232"/>
                  </a:moveTo>
                  <a:lnTo>
                    <a:pt x="1203" y="2232"/>
                  </a:lnTo>
                  <a:cubicBezTo>
                    <a:pt x="1629" y="2232"/>
                    <a:pt x="1974" y="1897"/>
                    <a:pt x="1974" y="1298"/>
                  </a:cubicBezTo>
                  <a:cubicBezTo>
                    <a:pt x="1974" y="695"/>
                    <a:pt x="1629" y="359"/>
                    <a:pt x="1203" y="359"/>
                  </a:cubicBezTo>
                  <a:cubicBezTo>
                    <a:pt x="776" y="359"/>
                    <a:pt x="432" y="695"/>
                    <a:pt x="432" y="1298"/>
                  </a:cubicBezTo>
                  <a:cubicBezTo>
                    <a:pt x="432" y="1897"/>
                    <a:pt x="776" y="2232"/>
                    <a:pt x="1203" y="2232"/>
                  </a:cubicBezTo>
                  <a:close/>
                  <a:moveTo>
                    <a:pt x="1203" y="0"/>
                  </a:moveTo>
                  <a:lnTo>
                    <a:pt x="1203" y="0"/>
                  </a:lnTo>
                  <a:cubicBezTo>
                    <a:pt x="1988" y="0"/>
                    <a:pt x="2405" y="570"/>
                    <a:pt x="2405" y="1298"/>
                  </a:cubicBezTo>
                  <a:cubicBezTo>
                    <a:pt x="2405" y="2021"/>
                    <a:pt x="1988" y="2591"/>
                    <a:pt x="1203" y="2591"/>
                  </a:cubicBezTo>
                  <a:cubicBezTo>
                    <a:pt x="417" y="2591"/>
                    <a:pt x="0" y="2021"/>
                    <a:pt x="0" y="1298"/>
                  </a:cubicBezTo>
                  <a:cubicBezTo>
                    <a:pt x="0" y="570"/>
                    <a:pt x="417" y="0"/>
                    <a:pt x="120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9"/>
            <p:cNvSpPr>
              <a:spLocks noEditPoints="1"/>
            </p:cNvSpPr>
            <p:nvPr userDrawn="1"/>
          </p:nvSpPr>
          <p:spPr bwMode="black">
            <a:xfrm>
              <a:off x="4299545" y="3694644"/>
              <a:ext cx="340257" cy="382145"/>
            </a:xfrm>
            <a:custGeom>
              <a:avLst/>
              <a:gdLst>
                <a:gd name="T0" fmla="*/ 1666 w 2327"/>
                <a:gd name="T1" fmla="*/ 1255 h 2591"/>
                <a:gd name="T2" fmla="*/ 1666 w 2327"/>
                <a:gd name="T3" fmla="*/ 1255 h 2591"/>
                <a:gd name="T4" fmla="*/ 929 w 2327"/>
                <a:gd name="T5" fmla="*/ 1422 h 2591"/>
                <a:gd name="T6" fmla="*/ 431 w 2327"/>
                <a:gd name="T7" fmla="*/ 1868 h 2591"/>
                <a:gd name="T8" fmla="*/ 910 w 2327"/>
                <a:gd name="T9" fmla="*/ 2232 h 2591"/>
                <a:gd name="T10" fmla="*/ 1666 w 2327"/>
                <a:gd name="T11" fmla="*/ 1672 h 2591"/>
                <a:gd name="T12" fmla="*/ 1666 w 2327"/>
                <a:gd name="T13" fmla="*/ 1255 h 2591"/>
                <a:gd name="T14" fmla="*/ 2327 w 2327"/>
                <a:gd name="T15" fmla="*/ 2524 h 2591"/>
                <a:gd name="T16" fmla="*/ 2327 w 2327"/>
                <a:gd name="T17" fmla="*/ 2524 h 2591"/>
                <a:gd name="T18" fmla="*/ 2035 w 2327"/>
                <a:gd name="T19" fmla="*/ 2591 h 2591"/>
                <a:gd name="T20" fmla="*/ 1690 w 2327"/>
                <a:gd name="T21" fmla="*/ 2208 h 2591"/>
                <a:gd name="T22" fmla="*/ 819 w 2327"/>
                <a:gd name="T23" fmla="*/ 2591 h 2591"/>
                <a:gd name="T24" fmla="*/ 0 w 2327"/>
                <a:gd name="T25" fmla="*/ 1897 h 2591"/>
                <a:gd name="T26" fmla="*/ 838 w 2327"/>
                <a:gd name="T27" fmla="*/ 1135 h 2591"/>
                <a:gd name="T28" fmla="*/ 1671 w 2327"/>
                <a:gd name="T29" fmla="*/ 771 h 2591"/>
                <a:gd name="T30" fmla="*/ 1120 w 2327"/>
                <a:gd name="T31" fmla="*/ 359 h 2591"/>
                <a:gd name="T32" fmla="*/ 503 w 2327"/>
                <a:gd name="T33" fmla="*/ 829 h 2591"/>
                <a:gd name="T34" fmla="*/ 96 w 2327"/>
                <a:gd name="T35" fmla="*/ 829 h 2591"/>
                <a:gd name="T36" fmla="*/ 1144 w 2327"/>
                <a:gd name="T37" fmla="*/ 0 h 2591"/>
                <a:gd name="T38" fmla="*/ 2073 w 2327"/>
                <a:gd name="T39" fmla="*/ 680 h 2591"/>
                <a:gd name="T40" fmla="*/ 2073 w 2327"/>
                <a:gd name="T41" fmla="*/ 1954 h 2591"/>
                <a:gd name="T42" fmla="*/ 2203 w 2327"/>
                <a:gd name="T43" fmla="*/ 2232 h 2591"/>
                <a:gd name="T44" fmla="*/ 2327 w 2327"/>
                <a:gd name="T45" fmla="*/ 2208 h 2591"/>
                <a:gd name="T46" fmla="*/ 2327 w 2327"/>
                <a:gd name="T47" fmla="*/ 2524 h 2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27" h="2591">
                  <a:moveTo>
                    <a:pt x="1666" y="1255"/>
                  </a:moveTo>
                  <a:lnTo>
                    <a:pt x="1666" y="1255"/>
                  </a:lnTo>
                  <a:cubicBezTo>
                    <a:pt x="1508" y="1370"/>
                    <a:pt x="1202" y="1375"/>
                    <a:pt x="929" y="1422"/>
                  </a:cubicBezTo>
                  <a:cubicBezTo>
                    <a:pt x="661" y="1470"/>
                    <a:pt x="431" y="1566"/>
                    <a:pt x="431" y="1868"/>
                  </a:cubicBezTo>
                  <a:cubicBezTo>
                    <a:pt x="431" y="2136"/>
                    <a:pt x="661" y="2232"/>
                    <a:pt x="910" y="2232"/>
                  </a:cubicBezTo>
                  <a:cubicBezTo>
                    <a:pt x="1446" y="2232"/>
                    <a:pt x="1666" y="1897"/>
                    <a:pt x="1666" y="1672"/>
                  </a:cubicBezTo>
                  <a:lnTo>
                    <a:pt x="1666" y="1255"/>
                  </a:lnTo>
                  <a:close/>
                  <a:moveTo>
                    <a:pt x="2327" y="2524"/>
                  </a:moveTo>
                  <a:lnTo>
                    <a:pt x="2327" y="2524"/>
                  </a:lnTo>
                  <a:cubicBezTo>
                    <a:pt x="2256" y="2567"/>
                    <a:pt x="2164" y="2591"/>
                    <a:pt x="2035" y="2591"/>
                  </a:cubicBezTo>
                  <a:cubicBezTo>
                    <a:pt x="1824" y="2591"/>
                    <a:pt x="1690" y="2476"/>
                    <a:pt x="1690" y="2208"/>
                  </a:cubicBezTo>
                  <a:cubicBezTo>
                    <a:pt x="1465" y="2471"/>
                    <a:pt x="1163" y="2591"/>
                    <a:pt x="819" y="2591"/>
                  </a:cubicBezTo>
                  <a:cubicBezTo>
                    <a:pt x="369" y="2591"/>
                    <a:pt x="0" y="2390"/>
                    <a:pt x="0" y="1897"/>
                  </a:cubicBezTo>
                  <a:cubicBezTo>
                    <a:pt x="0" y="1336"/>
                    <a:pt x="417" y="1217"/>
                    <a:pt x="838" y="1135"/>
                  </a:cubicBezTo>
                  <a:cubicBezTo>
                    <a:pt x="1288" y="1049"/>
                    <a:pt x="1671" y="1078"/>
                    <a:pt x="1671" y="771"/>
                  </a:cubicBezTo>
                  <a:cubicBezTo>
                    <a:pt x="1671" y="417"/>
                    <a:pt x="1379" y="359"/>
                    <a:pt x="1120" y="359"/>
                  </a:cubicBezTo>
                  <a:cubicBezTo>
                    <a:pt x="776" y="359"/>
                    <a:pt x="522" y="465"/>
                    <a:pt x="503" y="829"/>
                  </a:cubicBezTo>
                  <a:lnTo>
                    <a:pt x="96" y="829"/>
                  </a:lnTo>
                  <a:cubicBezTo>
                    <a:pt x="120" y="215"/>
                    <a:pt x="594" y="0"/>
                    <a:pt x="1144" y="0"/>
                  </a:cubicBezTo>
                  <a:cubicBezTo>
                    <a:pt x="1590" y="0"/>
                    <a:pt x="2073" y="101"/>
                    <a:pt x="2073" y="680"/>
                  </a:cubicBezTo>
                  <a:lnTo>
                    <a:pt x="2073" y="1954"/>
                  </a:lnTo>
                  <a:cubicBezTo>
                    <a:pt x="2073" y="2145"/>
                    <a:pt x="2073" y="2232"/>
                    <a:pt x="2203" y="2232"/>
                  </a:cubicBezTo>
                  <a:cubicBezTo>
                    <a:pt x="2236" y="2232"/>
                    <a:pt x="2275" y="2227"/>
                    <a:pt x="2327" y="2208"/>
                  </a:cubicBezTo>
                  <a:lnTo>
                    <a:pt x="2327" y="25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Freeform 20"/>
            <p:cNvSpPr>
              <a:spLocks/>
            </p:cNvSpPr>
            <p:nvPr userDrawn="1"/>
          </p:nvSpPr>
          <p:spPr bwMode="black">
            <a:xfrm>
              <a:off x="4073996" y="3594113"/>
              <a:ext cx="192683" cy="474298"/>
            </a:xfrm>
            <a:custGeom>
              <a:avLst/>
              <a:gdLst>
                <a:gd name="T0" fmla="*/ 828 w 1321"/>
                <a:gd name="T1" fmla="*/ 743 h 3218"/>
                <a:gd name="T2" fmla="*/ 828 w 1321"/>
                <a:gd name="T3" fmla="*/ 743 h 3218"/>
                <a:gd name="T4" fmla="*/ 1321 w 1321"/>
                <a:gd name="T5" fmla="*/ 743 h 3218"/>
                <a:gd name="T6" fmla="*/ 1321 w 1321"/>
                <a:gd name="T7" fmla="*/ 1102 h 3218"/>
                <a:gd name="T8" fmla="*/ 828 w 1321"/>
                <a:gd name="T9" fmla="*/ 1102 h 3218"/>
                <a:gd name="T10" fmla="*/ 828 w 1321"/>
                <a:gd name="T11" fmla="*/ 2639 h 3218"/>
                <a:gd name="T12" fmla="*/ 1135 w 1321"/>
                <a:gd name="T13" fmla="*/ 2859 h 3218"/>
                <a:gd name="T14" fmla="*/ 1321 w 1321"/>
                <a:gd name="T15" fmla="*/ 2859 h 3218"/>
                <a:gd name="T16" fmla="*/ 1321 w 1321"/>
                <a:gd name="T17" fmla="*/ 3218 h 3218"/>
                <a:gd name="T18" fmla="*/ 1010 w 1321"/>
                <a:gd name="T19" fmla="*/ 3218 h 3218"/>
                <a:gd name="T20" fmla="*/ 421 w 1321"/>
                <a:gd name="T21" fmla="*/ 2677 h 3218"/>
                <a:gd name="T22" fmla="*/ 421 w 1321"/>
                <a:gd name="T23" fmla="*/ 1102 h 3218"/>
                <a:gd name="T24" fmla="*/ 0 w 1321"/>
                <a:gd name="T25" fmla="*/ 1102 h 3218"/>
                <a:gd name="T26" fmla="*/ 0 w 1321"/>
                <a:gd name="T27" fmla="*/ 743 h 3218"/>
                <a:gd name="T28" fmla="*/ 421 w 1321"/>
                <a:gd name="T29" fmla="*/ 743 h 3218"/>
                <a:gd name="T30" fmla="*/ 421 w 1321"/>
                <a:gd name="T31" fmla="*/ 0 h 3218"/>
                <a:gd name="T32" fmla="*/ 828 w 1321"/>
                <a:gd name="T33" fmla="*/ 0 h 3218"/>
                <a:gd name="T34" fmla="*/ 828 w 1321"/>
                <a:gd name="T35" fmla="*/ 743 h 3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21" h="3218">
                  <a:moveTo>
                    <a:pt x="828" y="743"/>
                  </a:moveTo>
                  <a:lnTo>
                    <a:pt x="828" y="743"/>
                  </a:lnTo>
                  <a:lnTo>
                    <a:pt x="1321" y="743"/>
                  </a:lnTo>
                  <a:lnTo>
                    <a:pt x="1321" y="1102"/>
                  </a:lnTo>
                  <a:lnTo>
                    <a:pt x="828" y="1102"/>
                  </a:lnTo>
                  <a:lnTo>
                    <a:pt x="828" y="2639"/>
                  </a:lnTo>
                  <a:cubicBezTo>
                    <a:pt x="828" y="2826"/>
                    <a:pt x="881" y="2859"/>
                    <a:pt x="1135" y="2859"/>
                  </a:cubicBezTo>
                  <a:lnTo>
                    <a:pt x="1321" y="2859"/>
                  </a:lnTo>
                  <a:lnTo>
                    <a:pt x="1321" y="3218"/>
                  </a:lnTo>
                  <a:lnTo>
                    <a:pt x="1010" y="3218"/>
                  </a:lnTo>
                  <a:cubicBezTo>
                    <a:pt x="589" y="3218"/>
                    <a:pt x="421" y="3132"/>
                    <a:pt x="421" y="2677"/>
                  </a:cubicBezTo>
                  <a:lnTo>
                    <a:pt x="421" y="1102"/>
                  </a:lnTo>
                  <a:lnTo>
                    <a:pt x="0" y="1102"/>
                  </a:lnTo>
                  <a:lnTo>
                    <a:pt x="0" y="743"/>
                  </a:lnTo>
                  <a:lnTo>
                    <a:pt x="421" y="743"/>
                  </a:lnTo>
                  <a:lnTo>
                    <a:pt x="421" y="0"/>
                  </a:lnTo>
                  <a:lnTo>
                    <a:pt x="828" y="0"/>
                  </a:lnTo>
                  <a:lnTo>
                    <a:pt x="828" y="7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9" name="Freeform 21"/>
            <p:cNvSpPr>
              <a:spLocks/>
            </p:cNvSpPr>
            <p:nvPr userDrawn="1"/>
          </p:nvSpPr>
          <p:spPr bwMode="black">
            <a:xfrm>
              <a:off x="3750494" y="3694644"/>
              <a:ext cx="300303" cy="373767"/>
            </a:xfrm>
            <a:custGeom>
              <a:avLst/>
              <a:gdLst>
                <a:gd name="T0" fmla="*/ 0 w 2050"/>
                <a:gd name="T1" fmla="*/ 58 h 2533"/>
                <a:gd name="T2" fmla="*/ 0 w 2050"/>
                <a:gd name="T3" fmla="*/ 58 h 2533"/>
                <a:gd name="T4" fmla="*/ 383 w 2050"/>
                <a:gd name="T5" fmla="*/ 58 h 2533"/>
                <a:gd name="T6" fmla="*/ 383 w 2050"/>
                <a:gd name="T7" fmla="*/ 450 h 2533"/>
                <a:gd name="T8" fmla="*/ 393 w 2050"/>
                <a:gd name="T9" fmla="*/ 450 h 2533"/>
                <a:gd name="T10" fmla="*/ 1198 w 2050"/>
                <a:gd name="T11" fmla="*/ 0 h 2533"/>
                <a:gd name="T12" fmla="*/ 2050 w 2050"/>
                <a:gd name="T13" fmla="*/ 905 h 2533"/>
                <a:gd name="T14" fmla="*/ 2050 w 2050"/>
                <a:gd name="T15" fmla="*/ 2533 h 2533"/>
                <a:gd name="T16" fmla="*/ 1643 w 2050"/>
                <a:gd name="T17" fmla="*/ 2533 h 2533"/>
                <a:gd name="T18" fmla="*/ 1643 w 2050"/>
                <a:gd name="T19" fmla="*/ 857 h 2533"/>
                <a:gd name="T20" fmla="*/ 1140 w 2050"/>
                <a:gd name="T21" fmla="*/ 359 h 2533"/>
                <a:gd name="T22" fmla="*/ 407 w 2050"/>
                <a:gd name="T23" fmla="*/ 1135 h 2533"/>
                <a:gd name="T24" fmla="*/ 407 w 2050"/>
                <a:gd name="T25" fmla="*/ 2533 h 2533"/>
                <a:gd name="T26" fmla="*/ 0 w 2050"/>
                <a:gd name="T27" fmla="*/ 2533 h 2533"/>
                <a:gd name="T28" fmla="*/ 0 w 2050"/>
                <a:gd name="T29" fmla="*/ 58 h 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0" h="2533">
                  <a:moveTo>
                    <a:pt x="0" y="58"/>
                  </a:moveTo>
                  <a:lnTo>
                    <a:pt x="0" y="58"/>
                  </a:lnTo>
                  <a:lnTo>
                    <a:pt x="383" y="58"/>
                  </a:lnTo>
                  <a:lnTo>
                    <a:pt x="383" y="450"/>
                  </a:lnTo>
                  <a:lnTo>
                    <a:pt x="393" y="450"/>
                  </a:lnTo>
                  <a:cubicBezTo>
                    <a:pt x="565" y="144"/>
                    <a:pt x="843" y="0"/>
                    <a:pt x="1198" y="0"/>
                  </a:cubicBezTo>
                  <a:cubicBezTo>
                    <a:pt x="1849" y="0"/>
                    <a:pt x="2050" y="374"/>
                    <a:pt x="2050" y="905"/>
                  </a:cubicBezTo>
                  <a:lnTo>
                    <a:pt x="2050" y="2533"/>
                  </a:lnTo>
                  <a:lnTo>
                    <a:pt x="1643" y="2533"/>
                  </a:lnTo>
                  <a:lnTo>
                    <a:pt x="1643" y="857"/>
                  </a:lnTo>
                  <a:cubicBezTo>
                    <a:pt x="1643" y="555"/>
                    <a:pt x="1451" y="359"/>
                    <a:pt x="1140" y="359"/>
                  </a:cubicBezTo>
                  <a:cubicBezTo>
                    <a:pt x="647" y="359"/>
                    <a:pt x="407" y="690"/>
                    <a:pt x="407" y="1135"/>
                  </a:cubicBezTo>
                  <a:lnTo>
                    <a:pt x="407" y="2533"/>
                  </a:lnTo>
                  <a:lnTo>
                    <a:pt x="0" y="2533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0" name="Freeform 22"/>
            <p:cNvSpPr>
              <a:spLocks/>
            </p:cNvSpPr>
            <p:nvPr userDrawn="1"/>
          </p:nvSpPr>
          <p:spPr bwMode="black">
            <a:xfrm>
              <a:off x="3379949" y="3703666"/>
              <a:ext cx="299658" cy="373123"/>
            </a:xfrm>
            <a:custGeom>
              <a:avLst/>
              <a:gdLst>
                <a:gd name="T0" fmla="*/ 2049 w 2049"/>
                <a:gd name="T1" fmla="*/ 2475 h 2533"/>
                <a:gd name="T2" fmla="*/ 2049 w 2049"/>
                <a:gd name="T3" fmla="*/ 2475 h 2533"/>
                <a:gd name="T4" fmla="*/ 1666 w 2049"/>
                <a:gd name="T5" fmla="*/ 2475 h 2533"/>
                <a:gd name="T6" fmla="*/ 1666 w 2049"/>
                <a:gd name="T7" fmla="*/ 2083 h 2533"/>
                <a:gd name="T8" fmla="*/ 1657 w 2049"/>
                <a:gd name="T9" fmla="*/ 2083 h 2533"/>
                <a:gd name="T10" fmla="*/ 852 w 2049"/>
                <a:gd name="T11" fmla="*/ 2533 h 2533"/>
                <a:gd name="T12" fmla="*/ 0 w 2049"/>
                <a:gd name="T13" fmla="*/ 1628 h 2533"/>
                <a:gd name="T14" fmla="*/ 0 w 2049"/>
                <a:gd name="T15" fmla="*/ 0 h 2533"/>
                <a:gd name="T16" fmla="*/ 407 w 2049"/>
                <a:gd name="T17" fmla="*/ 0 h 2533"/>
                <a:gd name="T18" fmla="*/ 407 w 2049"/>
                <a:gd name="T19" fmla="*/ 1676 h 2533"/>
                <a:gd name="T20" fmla="*/ 910 w 2049"/>
                <a:gd name="T21" fmla="*/ 2174 h 2533"/>
                <a:gd name="T22" fmla="*/ 1642 w 2049"/>
                <a:gd name="T23" fmla="*/ 1398 h 2533"/>
                <a:gd name="T24" fmla="*/ 1642 w 2049"/>
                <a:gd name="T25" fmla="*/ 0 h 2533"/>
                <a:gd name="T26" fmla="*/ 2049 w 2049"/>
                <a:gd name="T27" fmla="*/ 0 h 2533"/>
                <a:gd name="T28" fmla="*/ 2049 w 2049"/>
                <a:gd name="T29" fmla="*/ 2475 h 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49" h="2533">
                  <a:moveTo>
                    <a:pt x="2049" y="2475"/>
                  </a:moveTo>
                  <a:lnTo>
                    <a:pt x="2049" y="2475"/>
                  </a:lnTo>
                  <a:lnTo>
                    <a:pt x="1666" y="2475"/>
                  </a:lnTo>
                  <a:lnTo>
                    <a:pt x="1666" y="2083"/>
                  </a:lnTo>
                  <a:lnTo>
                    <a:pt x="1657" y="2083"/>
                  </a:lnTo>
                  <a:cubicBezTo>
                    <a:pt x="1484" y="2389"/>
                    <a:pt x="1206" y="2533"/>
                    <a:pt x="852" y="2533"/>
                  </a:cubicBezTo>
                  <a:cubicBezTo>
                    <a:pt x="201" y="2533"/>
                    <a:pt x="0" y="2159"/>
                    <a:pt x="0" y="1628"/>
                  </a:cubicBezTo>
                  <a:lnTo>
                    <a:pt x="0" y="0"/>
                  </a:lnTo>
                  <a:lnTo>
                    <a:pt x="407" y="0"/>
                  </a:lnTo>
                  <a:lnTo>
                    <a:pt x="407" y="1676"/>
                  </a:lnTo>
                  <a:cubicBezTo>
                    <a:pt x="407" y="1977"/>
                    <a:pt x="598" y="2174"/>
                    <a:pt x="910" y="2174"/>
                  </a:cubicBezTo>
                  <a:cubicBezTo>
                    <a:pt x="1403" y="2174"/>
                    <a:pt x="1642" y="1843"/>
                    <a:pt x="1642" y="1398"/>
                  </a:cubicBezTo>
                  <a:lnTo>
                    <a:pt x="1642" y="0"/>
                  </a:lnTo>
                  <a:lnTo>
                    <a:pt x="2049" y="0"/>
                  </a:lnTo>
                  <a:lnTo>
                    <a:pt x="2049" y="24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1" name="Freeform 23"/>
            <p:cNvSpPr>
              <a:spLocks/>
            </p:cNvSpPr>
            <p:nvPr userDrawn="1"/>
          </p:nvSpPr>
          <p:spPr bwMode="black">
            <a:xfrm>
              <a:off x="3019070" y="3703666"/>
              <a:ext cx="299658" cy="373123"/>
            </a:xfrm>
            <a:custGeom>
              <a:avLst/>
              <a:gdLst>
                <a:gd name="T0" fmla="*/ 2050 w 2050"/>
                <a:gd name="T1" fmla="*/ 2475 h 2533"/>
                <a:gd name="T2" fmla="*/ 2050 w 2050"/>
                <a:gd name="T3" fmla="*/ 2475 h 2533"/>
                <a:gd name="T4" fmla="*/ 1667 w 2050"/>
                <a:gd name="T5" fmla="*/ 2475 h 2533"/>
                <a:gd name="T6" fmla="*/ 1667 w 2050"/>
                <a:gd name="T7" fmla="*/ 2083 h 2533"/>
                <a:gd name="T8" fmla="*/ 1657 w 2050"/>
                <a:gd name="T9" fmla="*/ 2083 h 2533"/>
                <a:gd name="T10" fmla="*/ 853 w 2050"/>
                <a:gd name="T11" fmla="*/ 2533 h 2533"/>
                <a:gd name="T12" fmla="*/ 0 w 2050"/>
                <a:gd name="T13" fmla="*/ 1628 h 2533"/>
                <a:gd name="T14" fmla="*/ 0 w 2050"/>
                <a:gd name="T15" fmla="*/ 0 h 2533"/>
                <a:gd name="T16" fmla="*/ 407 w 2050"/>
                <a:gd name="T17" fmla="*/ 0 h 2533"/>
                <a:gd name="T18" fmla="*/ 407 w 2050"/>
                <a:gd name="T19" fmla="*/ 1676 h 2533"/>
                <a:gd name="T20" fmla="*/ 910 w 2050"/>
                <a:gd name="T21" fmla="*/ 2174 h 2533"/>
                <a:gd name="T22" fmla="*/ 1643 w 2050"/>
                <a:gd name="T23" fmla="*/ 1398 h 2533"/>
                <a:gd name="T24" fmla="*/ 1643 w 2050"/>
                <a:gd name="T25" fmla="*/ 0 h 2533"/>
                <a:gd name="T26" fmla="*/ 2050 w 2050"/>
                <a:gd name="T27" fmla="*/ 0 h 2533"/>
                <a:gd name="T28" fmla="*/ 2050 w 2050"/>
                <a:gd name="T29" fmla="*/ 2475 h 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0" h="2533">
                  <a:moveTo>
                    <a:pt x="2050" y="2475"/>
                  </a:moveTo>
                  <a:lnTo>
                    <a:pt x="2050" y="2475"/>
                  </a:lnTo>
                  <a:lnTo>
                    <a:pt x="1667" y="2475"/>
                  </a:lnTo>
                  <a:lnTo>
                    <a:pt x="1667" y="2083"/>
                  </a:lnTo>
                  <a:lnTo>
                    <a:pt x="1657" y="2083"/>
                  </a:lnTo>
                  <a:cubicBezTo>
                    <a:pt x="1485" y="2389"/>
                    <a:pt x="1207" y="2533"/>
                    <a:pt x="853" y="2533"/>
                  </a:cubicBezTo>
                  <a:cubicBezTo>
                    <a:pt x="201" y="2533"/>
                    <a:pt x="0" y="2159"/>
                    <a:pt x="0" y="1628"/>
                  </a:cubicBezTo>
                  <a:lnTo>
                    <a:pt x="0" y="0"/>
                  </a:lnTo>
                  <a:lnTo>
                    <a:pt x="407" y="0"/>
                  </a:lnTo>
                  <a:lnTo>
                    <a:pt x="407" y="1676"/>
                  </a:lnTo>
                  <a:cubicBezTo>
                    <a:pt x="407" y="1977"/>
                    <a:pt x="599" y="2174"/>
                    <a:pt x="910" y="2174"/>
                  </a:cubicBezTo>
                  <a:cubicBezTo>
                    <a:pt x="1403" y="2174"/>
                    <a:pt x="1643" y="1843"/>
                    <a:pt x="1643" y="1398"/>
                  </a:cubicBezTo>
                  <a:lnTo>
                    <a:pt x="1643" y="0"/>
                  </a:lnTo>
                  <a:lnTo>
                    <a:pt x="2050" y="0"/>
                  </a:lnTo>
                  <a:lnTo>
                    <a:pt x="2050" y="24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2" name="Freeform 24"/>
            <p:cNvSpPr>
              <a:spLocks/>
            </p:cNvSpPr>
            <p:nvPr userDrawn="1"/>
          </p:nvSpPr>
          <p:spPr bwMode="black">
            <a:xfrm>
              <a:off x="2662058" y="3694644"/>
              <a:ext cx="307391" cy="382145"/>
            </a:xfrm>
            <a:custGeom>
              <a:avLst/>
              <a:gdLst>
                <a:gd name="T0" fmla="*/ 406 w 2102"/>
                <a:gd name="T1" fmla="*/ 1753 h 2591"/>
                <a:gd name="T2" fmla="*/ 406 w 2102"/>
                <a:gd name="T3" fmla="*/ 1753 h 2591"/>
                <a:gd name="T4" fmla="*/ 1072 w 2102"/>
                <a:gd name="T5" fmla="*/ 2232 h 2591"/>
                <a:gd name="T6" fmla="*/ 1671 w 2102"/>
                <a:gd name="T7" fmla="*/ 1863 h 2591"/>
                <a:gd name="T8" fmla="*/ 861 w 2102"/>
                <a:gd name="T9" fmla="*/ 1403 h 2591"/>
                <a:gd name="T10" fmla="*/ 52 w 2102"/>
                <a:gd name="T11" fmla="*/ 704 h 2591"/>
                <a:gd name="T12" fmla="*/ 976 w 2102"/>
                <a:gd name="T13" fmla="*/ 0 h 2591"/>
                <a:gd name="T14" fmla="*/ 1992 w 2102"/>
                <a:gd name="T15" fmla="*/ 776 h 2591"/>
                <a:gd name="T16" fmla="*/ 1585 w 2102"/>
                <a:gd name="T17" fmla="*/ 776 h 2591"/>
                <a:gd name="T18" fmla="*/ 1010 w 2102"/>
                <a:gd name="T19" fmla="*/ 359 h 2591"/>
                <a:gd name="T20" fmla="*/ 483 w 2102"/>
                <a:gd name="T21" fmla="*/ 675 h 2591"/>
                <a:gd name="T22" fmla="*/ 1292 w 2102"/>
                <a:gd name="T23" fmla="*/ 1106 h 2591"/>
                <a:gd name="T24" fmla="*/ 2102 w 2102"/>
                <a:gd name="T25" fmla="*/ 1810 h 2591"/>
                <a:gd name="T26" fmla="*/ 1048 w 2102"/>
                <a:gd name="T27" fmla="*/ 2591 h 2591"/>
                <a:gd name="T28" fmla="*/ 0 w 2102"/>
                <a:gd name="T29" fmla="*/ 1753 h 2591"/>
                <a:gd name="T30" fmla="*/ 406 w 2102"/>
                <a:gd name="T31" fmla="*/ 1753 h 2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02" h="2591">
                  <a:moveTo>
                    <a:pt x="406" y="1753"/>
                  </a:moveTo>
                  <a:lnTo>
                    <a:pt x="406" y="1753"/>
                  </a:lnTo>
                  <a:cubicBezTo>
                    <a:pt x="420" y="2117"/>
                    <a:pt x="737" y="2232"/>
                    <a:pt x="1072" y="2232"/>
                  </a:cubicBezTo>
                  <a:cubicBezTo>
                    <a:pt x="1326" y="2232"/>
                    <a:pt x="1671" y="2174"/>
                    <a:pt x="1671" y="1863"/>
                  </a:cubicBezTo>
                  <a:cubicBezTo>
                    <a:pt x="1671" y="1547"/>
                    <a:pt x="1268" y="1494"/>
                    <a:pt x="861" y="1403"/>
                  </a:cubicBezTo>
                  <a:cubicBezTo>
                    <a:pt x="459" y="1312"/>
                    <a:pt x="52" y="1178"/>
                    <a:pt x="52" y="704"/>
                  </a:cubicBezTo>
                  <a:cubicBezTo>
                    <a:pt x="52" y="206"/>
                    <a:pt x="545" y="0"/>
                    <a:pt x="976" y="0"/>
                  </a:cubicBezTo>
                  <a:cubicBezTo>
                    <a:pt x="1522" y="0"/>
                    <a:pt x="1958" y="172"/>
                    <a:pt x="1992" y="776"/>
                  </a:cubicBezTo>
                  <a:lnTo>
                    <a:pt x="1585" y="776"/>
                  </a:lnTo>
                  <a:cubicBezTo>
                    <a:pt x="1556" y="460"/>
                    <a:pt x="1278" y="359"/>
                    <a:pt x="1010" y="359"/>
                  </a:cubicBezTo>
                  <a:cubicBezTo>
                    <a:pt x="765" y="359"/>
                    <a:pt x="483" y="426"/>
                    <a:pt x="483" y="675"/>
                  </a:cubicBezTo>
                  <a:cubicBezTo>
                    <a:pt x="483" y="967"/>
                    <a:pt x="914" y="1015"/>
                    <a:pt x="1292" y="1106"/>
                  </a:cubicBezTo>
                  <a:cubicBezTo>
                    <a:pt x="1699" y="1197"/>
                    <a:pt x="2102" y="1331"/>
                    <a:pt x="2102" y="1810"/>
                  </a:cubicBezTo>
                  <a:cubicBezTo>
                    <a:pt x="2102" y="2399"/>
                    <a:pt x="1551" y="2591"/>
                    <a:pt x="1048" y="2591"/>
                  </a:cubicBezTo>
                  <a:cubicBezTo>
                    <a:pt x="493" y="2591"/>
                    <a:pt x="23" y="2366"/>
                    <a:pt x="0" y="1753"/>
                  </a:cubicBezTo>
                  <a:lnTo>
                    <a:pt x="406" y="17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3" name="Freeform 25"/>
            <p:cNvSpPr>
              <a:spLocks noEditPoints="1"/>
            </p:cNvSpPr>
            <p:nvPr userDrawn="1"/>
          </p:nvSpPr>
          <p:spPr bwMode="black">
            <a:xfrm>
              <a:off x="2113651" y="3694644"/>
              <a:ext cx="340257" cy="382145"/>
            </a:xfrm>
            <a:custGeom>
              <a:avLst/>
              <a:gdLst>
                <a:gd name="T0" fmla="*/ 1666 w 2327"/>
                <a:gd name="T1" fmla="*/ 1255 h 2591"/>
                <a:gd name="T2" fmla="*/ 1666 w 2327"/>
                <a:gd name="T3" fmla="*/ 1255 h 2591"/>
                <a:gd name="T4" fmla="*/ 929 w 2327"/>
                <a:gd name="T5" fmla="*/ 1422 h 2591"/>
                <a:gd name="T6" fmla="*/ 431 w 2327"/>
                <a:gd name="T7" fmla="*/ 1868 h 2591"/>
                <a:gd name="T8" fmla="*/ 910 w 2327"/>
                <a:gd name="T9" fmla="*/ 2232 h 2591"/>
                <a:gd name="T10" fmla="*/ 1666 w 2327"/>
                <a:gd name="T11" fmla="*/ 1672 h 2591"/>
                <a:gd name="T12" fmla="*/ 1666 w 2327"/>
                <a:gd name="T13" fmla="*/ 1255 h 2591"/>
                <a:gd name="T14" fmla="*/ 2327 w 2327"/>
                <a:gd name="T15" fmla="*/ 2524 h 2591"/>
                <a:gd name="T16" fmla="*/ 2327 w 2327"/>
                <a:gd name="T17" fmla="*/ 2524 h 2591"/>
                <a:gd name="T18" fmla="*/ 2035 w 2327"/>
                <a:gd name="T19" fmla="*/ 2591 h 2591"/>
                <a:gd name="T20" fmla="*/ 1690 w 2327"/>
                <a:gd name="T21" fmla="*/ 2208 h 2591"/>
                <a:gd name="T22" fmla="*/ 819 w 2327"/>
                <a:gd name="T23" fmla="*/ 2591 h 2591"/>
                <a:gd name="T24" fmla="*/ 0 w 2327"/>
                <a:gd name="T25" fmla="*/ 1897 h 2591"/>
                <a:gd name="T26" fmla="*/ 838 w 2327"/>
                <a:gd name="T27" fmla="*/ 1135 h 2591"/>
                <a:gd name="T28" fmla="*/ 1671 w 2327"/>
                <a:gd name="T29" fmla="*/ 771 h 2591"/>
                <a:gd name="T30" fmla="*/ 1120 w 2327"/>
                <a:gd name="T31" fmla="*/ 359 h 2591"/>
                <a:gd name="T32" fmla="*/ 503 w 2327"/>
                <a:gd name="T33" fmla="*/ 829 h 2591"/>
                <a:gd name="T34" fmla="*/ 96 w 2327"/>
                <a:gd name="T35" fmla="*/ 829 h 2591"/>
                <a:gd name="T36" fmla="*/ 1145 w 2327"/>
                <a:gd name="T37" fmla="*/ 0 h 2591"/>
                <a:gd name="T38" fmla="*/ 2074 w 2327"/>
                <a:gd name="T39" fmla="*/ 680 h 2591"/>
                <a:gd name="T40" fmla="*/ 2074 w 2327"/>
                <a:gd name="T41" fmla="*/ 1954 h 2591"/>
                <a:gd name="T42" fmla="*/ 2203 w 2327"/>
                <a:gd name="T43" fmla="*/ 2232 h 2591"/>
                <a:gd name="T44" fmla="*/ 2327 w 2327"/>
                <a:gd name="T45" fmla="*/ 2208 h 2591"/>
                <a:gd name="T46" fmla="*/ 2327 w 2327"/>
                <a:gd name="T47" fmla="*/ 2524 h 2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27" h="2591">
                  <a:moveTo>
                    <a:pt x="1666" y="1255"/>
                  </a:moveTo>
                  <a:lnTo>
                    <a:pt x="1666" y="1255"/>
                  </a:lnTo>
                  <a:cubicBezTo>
                    <a:pt x="1508" y="1370"/>
                    <a:pt x="1202" y="1375"/>
                    <a:pt x="929" y="1422"/>
                  </a:cubicBezTo>
                  <a:cubicBezTo>
                    <a:pt x="661" y="1470"/>
                    <a:pt x="431" y="1566"/>
                    <a:pt x="431" y="1868"/>
                  </a:cubicBezTo>
                  <a:cubicBezTo>
                    <a:pt x="431" y="2136"/>
                    <a:pt x="661" y="2232"/>
                    <a:pt x="910" y="2232"/>
                  </a:cubicBezTo>
                  <a:cubicBezTo>
                    <a:pt x="1446" y="2232"/>
                    <a:pt x="1666" y="1897"/>
                    <a:pt x="1666" y="1672"/>
                  </a:cubicBezTo>
                  <a:lnTo>
                    <a:pt x="1666" y="1255"/>
                  </a:lnTo>
                  <a:close/>
                  <a:moveTo>
                    <a:pt x="2327" y="2524"/>
                  </a:moveTo>
                  <a:lnTo>
                    <a:pt x="2327" y="2524"/>
                  </a:lnTo>
                  <a:cubicBezTo>
                    <a:pt x="2255" y="2567"/>
                    <a:pt x="2165" y="2591"/>
                    <a:pt x="2035" y="2591"/>
                  </a:cubicBezTo>
                  <a:cubicBezTo>
                    <a:pt x="1824" y="2591"/>
                    <a:pt x="1690" y="2476"/>
                    <a:pt x="1690" y="2208"/>
                  </a:cubicBezTo>
                  <a:cubicBezTo>
                    <a:pt x="1465" y="2471"/>
                    <a:pt x="1164" y="2591"/>
                    <a:pt x="819" y="2591"/>
                  </a:cubicBezTo>
                  <a:cubicBezTo>
                    <a:pt x="368" y="2591"/>
                    <a:pt x="0" y="2390"/>
                    <a:pt x="0" y="1897"/>
                  </a:cubicBezTo>
                  <a:cubicBezTo>
                    <a:pt x="0" y="1336"/>
                    <a:pt x="416" y="1217"/>
                    <a:pt x="838" y="1135"/>
                  </a:cubicBezTo>
                  <a:cubicBezTo>
                    <a:pt x="1288" y="1049"/>
                    <a:pt x="1671" y="1078"/>
                    <a:pt x="1671" y="771"/>
                  </a:cubicBezTo>
                  <a:cubicBezTo>
                    <a:pt x="1671" y="417"/>
                    <a:pt x="1379" y="359"/>
                    <a:pt x="1120" y="359"/>
                  </a:cubicBezTo>
                  <a:cubicBezTo>
                    <a:pt x="775" y="359"/>
                    <a:pt x="522" y="465"/>
                    <a:pt x="503" y="829"/>
                  </a:cubicBezTo>
                  <a:lnTo>
                    <a:pt x="96" y="829"/>
                  </a:lnTo>
                  <a:cubicBezTo>
                    <a:pt x="120" y="215"/>
                    <a:pt x="593" y="0"/>
                    <a:pt x="1145" y="0"/>
                  </a:cubicBezTo>
                  <a:cubicBezTo>
                    <a:pt x="1590" y="0"/>
                    <a:pt x="2074" y="101"/>
                    <a:pt x="2074" y="680"/>
                  </a:cubicBezTo>
                  <a:lnTo>
                    <a:pt x="2074" y="1954"/>
                  </a:lnTo>
                  <a:cubicBezTo>
                    <a:pt x="2074" y="2145"/>
                    <a:pt x="2074" y="2232"/>
                    <a:pt x="2203" y="2232"/>
                  </a:cubicBezTo>
                  <a:cubicBezTo>
                    <a:pt x="2236" y="2232"/>
                    <a:pt x="2275" y="2227"/>
                    <a:pt x="2327" y="2208"/>
                  </a:cubicBezTo>
                  <a:lnTo>
                    <a:pt x="2327" y="25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4" name="Freeform 26"/>
            <p:cNvSpPr>
              <a:spLocks noEditPoints="1"/>
            </p:cNvSpPr>
            <p:nvPr userDrawn="1"/>
          </p:nvSpPr>
          <p:spPr bwMode="black">
            <a:xfrm>
              <a:off x="1725706" y="3694644"/>
              <a:ext cx="351212" cy="382145"/>
            </a:xfrm>
            <a:custGeom>
              <a:avLst/>
              <a:gdLst>
                <a:gd name="T0" fmla="*/ 1202 w 2404"/>
                <a:gd name="T1" fmla="*/ 2232 h 2591"/>
                <a:gd name="T2" fmla="*/ 1202 w 2404"/>
                <a:gd name="T3" fmla="*/ 2232 h 2591"/>
                <a:gd name="T4" fmla="*/ 1973 w 2404"/>
                <a:gd name="T5" fmla="*/ 1298 h 2591"/>
                <a:gd name="T6" fmla="*/ 1202 w 2404"/>
                <a:gd name="T7" fmla="*/ 359 h 2591"/>
                <a:gd name="T8" fmla="*/ 431 w 2404"/>
                <a:gd name="T9" fmla="*/ 1298 h 2591"/>
                <a:gd name="T10" fmla="*/ 1202 w 2404"/>
                <a:gd name="T11" fmla="*/ 2232 h 2591"/>
                <a:gd name="T12" fmla="*/ 1202 w 2404"/>
                <a:gd name="T13" fmla="*/ 0 h 2591"/>
                <a:gd name="T14" fmla="*/ 1202 w 2404"/>
                <a:gd name="T15" fmla="*/ 0 h 2591"/>
                <a:gd name="T16" fmla="*/ 2404 w 2404"/>
                <a:gd name="T17" fmla="*/ 1298 h 2591"/>
                <a:gd name="T18" fmla="*/ 1202 w 2404"/>
                <a:gd name="T19" fmla="*/ 2591 h 2591"/>
                <a:gd name="T20" fmla="*/ 0 w 2404"/>
                <a:gd name="T21" fmla="*/ 1298 h 2591"/>
                <a:gd name="T22" fmla="*/ 1202 w 2404"/>
                <a:gd name="T23" fmla="*/ 0 h 2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4" h="2591">
                  <a:moveTo>
                    <a:pt x="1202" y="2232"/>
                  </a:moveTo>
                  <a:lnTo>
                    <a:pt x="1202" y="2232"/>
                  </a:lnTo>
                  <a:cubicBezTo>
                    <a:pt x="1628" y="2232"/>
                    <a:pt x="1973" y="1897"/>
                    <a:pt x="1973" y="1298"/>
                  </a:cubicBezTo>
                  <a:cubicBezTo>
                    <a:pt x="1973" y="695"/>
                    <a:pt x="1628" y="359"/>
                    <a:pt x="1202" y="359"/>
                  </a:cubicBezTo>
                  <a:cubicBezTo>
                    <a:pt x="776" y="359"/>
                    <a:pt x="431" y="695"/>
                    <a:pt x="431" y="1298"/>
                  </a:cubicBezTo>
                  <a:cubicBezTo>
                    <a:pt x="431" y="1897"/>
                    <a:pt x="776" y="2232"/>
                    <a:pt x="1202" y="2232"/>
                  </a:cubicBezTo>
                  <a:close/>
                  <a:moveTo>
                    <a:pt x="1202" y="0"/>
                  </a:moveTo>
                  <a:lnTo>
                    <a:pt x="1202" y="0"/>
                  </a:lnTo>
                  <a:cubicBezTo>
                    <a:pt x="1987" y="0"/>
                    <a:pt x="2404" y="570"/>
                    <a:pt x="2404" y="1298"/>
                  </a:cubicBezTo>
                  <a:cubicBezTo>
                    <a:pt x="2404" y="2021"/>
                    <a:pt x="1987" y="2591"/>
                    <a:pt x="1202" y="2591"/>
                  </a:cubicBezTo>
                  <a:cubicBezTo>
                    <a:pt x="416" y="2591"/>
                    <a:pt x="0" y="2021"/>
                    <a:pt x="0" y="1298"/>
                  </a:cubicBezTo>
                  <a:cubicBezTo>
                    <a:pt x="0" y="570"/>
                    <a:pt x="416" y="0"/>
                    <a:pt x="120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5" name="Freeform 27"/>
            <p:cNvSpPr>
              <a:spLocks/>
            </p:cNvSpPr>
            <p:nvPr userDrawn="1"/>
          </p:nvSpPr>
          <p:spPr bwMode="black">
            <a:xfrm>
              <a:off x="1373849" y="3694644"/>
              <a:ext cx="299658" cy="373767"/>
            </a:xfrm>
            <a:custGeom>
              <a:avLst/>
              <a:gdLst>
                <a:gd name="T0" fmla="*/ 0 w 2050"/>
                <a:gd name="T1" fmla="*/ 58 h 2533"/>
                <a:gd name="T2" fmla="*/ 0 w 2050"/>
                <a:gd name="T3" fmla="*/ 58 h 2533"/>
                <a:gd name="T4" fmla="*/ 383 w 2050"/>
                <a:gd name="T5" fmla="*/ 58 h 2533"/>
                <a:gd name="T6" fmla="*/ 383 w 2050"/>
                <a:gd name="T7" fmla="*/ 450 h 2533"/>
                <a:gd name="T8" fmla="*/ 393 w 2050"/>
                <a:gd name="T9" fmla="*/ 450 h 2533"/>
                <a:gd name="T10" fmla="*/ 1197 w 2050"/>
                <a:gd name="T11" fmla="*/ 0 h 2533"/>
                <a:gd name="T12" fmla="*/ 2050 w 2050"/>
                <a:gd name="T13" fmla="*/ 905 h 2533"/>
                <a:gd name="T14" fmla="*/ 2050 w 2050"/>
                <a:gd name="T15" fmla="*/ 2533 h 2533"/>
                <a:gd name="T16" fmla="*/ 1643 w 2050"/>
                <a:gd name="T17" fmla="*/ 2533 h 2533"/>
                <a:gd name="T18" fmla="*/ 1643 w 2050"/>
                <a:gd name="T19" fmla="*/ 857 h 2533"/>
                <a:gd name="T20" fmla="*/ 1140 w 2050"/>
                <a:gd name="T21" fmla="*/ 359 h 2533"/>
                <a:gd name="T22" fmla="*/ 407 w 2050"/>
                <a:gd name="T23" fmla="*/ 1135 h 2533"/>
                <a:gd name="T24" fmla="*/ 407 w 2050"/>
                <a:gd name="T25" fmla="*/ 2533 h 2533"/>
                <a:gd name="T26" fmla="*/ 0 w 2050"/>
                <a:gd name="T27" fmla="*/ 2533 h 2533"/>
                <a:gd name="T28" fmla="*/ 0 w 2050"/>
                <a:gd name="T29" fmla="*/ 58 h 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0" h="2533">
                  <a:moveTo>
                    <a:pt x="0" y="58"/>
                  </a:moveTo>
                  <a:lnTo>
                    <a:pt x="0" y="58"/>
                  </a:lnTo>
                  <a:lnTo>
                    <a:pt x="383" y="58"/>
                  </a:lnTo>
                  <a:lnTo>
                    <a:pt x="383" y="450"/>
                  </a:lnTo>
                  <a:lnTo>
                    <a:pt x="393" y="450"/>
                  </a:lnTo>
                  <a:cubicBezTo>
                    <a:pt x="565" y="144"/>
                    <a:pt x="843" y="0"/>
                    <a:pt x="1197" y="0"/>
                  </a:cubicBezTo>
                  <a:cubicBezTo>
                    <a:pt x="1848" y="0"/>
                    <a:pt x="2050" y="374"/>
                    <a:pt x="2050" y="905"/>
                  </a:cubicBezTo>
                  <a:lnTo>
                    <a:pt x="2050" y="2533"/>
                  </a:lnTo>
                  <a:lnTo>
                    <a:pt x="1643" y="2533"/>
                  </a:lnTo>
                  <a:lnTo>
                    <a:pt x="1643" y="857"/>
                  </a:lnTo>
                  <a:cubicBezTo>
                    <a:pt x="1643" y="555"/>
                    <a:pt x="1451" y="359"/>
                    <a:pt x="1140" y="359"/>
                  </a:cubicBezTo>
                  <a:cubicBezTo>
                    <a:pt x="646" y="359"/>
                    <a:pt x="407" y="690"/>
                    <a:pt x="407" y="1135"/>
                  </a:cubicBezTo>
                  <a:lnTo>
                    <a:pt x="407" y="2533"/>
                  </a:lnTo>
                  <a:lnTo>
                    <a:pt x="0" y="2533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6" name="Freeform 28"/>
            <p:cNvSpPr>
              <a:spLocks/>
            </p:cNvSpPr>
            <p:nvPr userDrawn="1"/>
          </p:nvSpPr>
          <p:spPr bwMode="black">
            <a:xfrm>
              <a:off x="1230142" y="3703666"/>
              <a:ext cx="59287" cy="364745"/>
            </a:xfrm>
            <a:custGeom>
              <a:avLst/>
              <a:gdLst>
                <a:gd name="T0" fmla="*/ 0 w 407"/>
                <a:gd name="T1" fmla="*/ 0 h 2475"/>
                <a:gd name="T2" fmla="*/ 0 w 407"/>
                <a:gd name="T3" fmla="*/ 0 h 2475"/>
                <a:gd name="T4" fmla="*/ 407 w 407"/>
                <a:gd name="T5" fmla="*/ 0 h 2475"/>
                <a:gd name="T6" fmla="*/ 407 w 407"/>
                <a:gd name="T7" fmla="*/ 2475 h 2475"/>
                <a:gd name="T8" fmla="*/ 0 w 407"/>
                <a:gd name="T9" fmla="*/ 2475 h 2475"/>
                <a:gd name="T10" fmla="*/ 0 w 407"/>
                <a:gd name="T11" fmla="*/ 0 h 2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7" h="2475">
                  <a:moveTo>
                    <a:pt x="0" y="0"/>
                  </a:moveTo>
                  <a:lnTo>
                    <a:pt x="0" y="0"/>
                  </a:lnTo>
                  <a:lnTo>
                    <a:pt x="407" y="0"/>
                  </a:lnTo>
                  <a:lnTo>
                    <a:pt x="407" y="2475"/>
                  </a:lnTo>
                  <a:lnTo>
                    <a:pt x="0" y="247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7" name="Freeform 29"/>
            <p:cNvSpPr>
              <a:spLocks/>
            </p:cNvSpPr>
            <p:nvPr userDrawn="1"/>
          </p:nvSpPr>
          <p:spPr bwMode="black">
            <a:xfrm>
              <a:off x="1230142" y="3564470"/>
              <a:ext cx="59287" cy="73465"/>
            </a:xfrm>
            <a:custGeom>
              <a:avLst/>
              <a:gdLst>
                <a:gd name="T0" fmla="*/ 407 w 407"/>
                <a:gd name="T1" fmla="*/ 498 h 498"/>
                <a:gd name="T2" fmla="*/ 407 w 407"/>
                <a:gd name="T3" fmla="*/ 498 h 498"/>
                <a:gd name="T4" fmla="*/ 0 w 407"/>
                <a:gd name="T5" fmla="*/ 498 h 498"/>
                <a:gd name="T6" fmla="*/ 0 w 407"/>
                <a:gd name="T7" fmla="*/ 0 h 498"/>
                <a:gd name="T8" fmla="*/ 407 w 407"/>
                <a:gd name="T9" fmla="*/ 0 h 498"/>
                <a:gd name="T10" fmla="*/ 407 w 407"/>
                <a:gd name="T11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7" h="498">
                  <a:moveTo>
                    <a:pt x="407" y="498"/>
                  </a:moveTo>
                  <a:lnTo>
                    <a:pt x="407" y="498"/>
                  </a:lnTo>
                  <a:lnTo>
                    <a:pt x="0" y="498"/>
                  </a:lnTo>
                  <a:lnTo>
                    <a:pt x="0" y="0"/>
                  </a:lnTo>
                  <a:lnTo>
                    <a:pt x="407" y="0"/>
                  </a:lnTo>
                  <a:lnTo>
                    <a:pt x="407" y="4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8" name="Freeform 30"/>
            <p:cNvSpPr>
              <a:spLocks noEditPoints="1"/>
            </p:cNvSpPr>
            <p:nvPr userDrawn="1"/>
          </p:nvSpPr>
          <p:spPr bwMode="black">
            <a:xfrm>
              <a:off x="726201" y="3564470"/>
              <a:ext cx="463987" cy="503941"/>
            </a:xfrm>
            <a:custGeom>
              <a:avLst/>
              <a:gdLst>
                <a:gd name="T0" fmla="*/ 996 w 3175"/>
                <a:gd name="T1" fmla="*/ 2007 h 3419"/>
                <a:gd name="T2" fmla="*/ 996 w 3175"/>
                <a:gd name="T3" fmla="*/ 2007 h 3419"/>
                <a:gd name="T4" fmla="*/ 2155 w 3175"/>
                <a:gd name="T5" fmla="*/ 2007 h 3419"/>
                <a:gd name="T6" fmla="*/ 1585 w 3175"/>
                <a:gd name="T7" fmla="*/ 412 h 3419"/>
                <a:gd name="T8" fmla="*/ 1576 w 3175"/>
                <a:gd name="T9" fmla="*/ 412 h 3419"/>
                <a:gd name="T10" fmla="*/ 996 w 3175"/>
                <a:gd name="T11" fmla="*/ 2007 h 3419"/>
                <a:gd name="T12" fmla="*/ 1336 w 3175"/>
                <a:gd name="T13" fmla="*/ 0 h 3419"/>
                <a:gd name="T14" fmla="*/ 1839 w 3175"/>
                <a:gd name="T15" fmla="*/ 0 h 3419"/>
                <a:gd name="T16" fmla="*/ 3175 w 3175"/>
                <a:gd name="T17" fmla="*/ 3419 h 3419"/>
                <a:gd name="T18" fmla="*/ 2672 w 3175"/>
                <a:gd name="T19" fmla="*/ 3419 h 3419"/>
                <a:gd name="T20" fmla="*/ 2299 w 3175"/>
                <a:gd name="T21" fmla="*/ 2390 h 3419"/>
                <a:gd name="T22" fmla="*/ 853 w 3175"/>
                <a:gd name="T23" fmla="*/ 2390 h 3419"/>
                <a:gd name="T24" fmla="*/ 470 w 3175"/>
                <a:gd name="T25" fmla="*/ 3419 h 3419"/>
                <a:gd name="T26" fmla="*/ 0 w 3175"/>
                <a:gd name="T27" fmla="*/ 3419 h 3419"/>
                <a:gd name="T28" fmla="*/ 1336 w 3175"/>
                <a:gd name="T29" fmla="*/ 0 h 3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75" h="3419">
                  <a:moveTo>
                    <a:pt x="996" y="2007"/>
                  </a:moveTo>
                  <a:lnTo>
                    <a:pt x="996" y="2007"/>
                  </a:lnTo>
                  <a:lnTo>
                    <a:pt x="2155" y="2007"/>
                  </a:lnTo>
                  <a:lnTo>
                    <a:pt x="1585" y="412"/>
                  </a:lnTo>
                  <a:lnTo>
                    <a:pt x="1576" y="412"/>
                  </a:lnTo>
                  <a:lnTo>
                    <a:pt x="996" y="2007"/>
                  </a:lnTo>
                  <a:close/>
                  <a:moveTo>
                    <a:pt x="1336" y="0"/>
                  </a:moveTo>
                  <a:lnTo>
                    <a:pt x="1839" y="0"/>
                  </a:lnTo>
                  <a:lnTo>
                    <a:pt x="3175" y="3419"/>
                  </a:lnTo>
                  <a:lnTo>
                    <a:pt x="2672" y="3419"/>
                  </a:lnTo>
                  <a:lnTo>
                    <a:pt x="2299" y="2390"/>
                  </a:lnTo>
                  <a:lnTo>
                    <a:pt x="853" y="2390"/>
                  </a:lnTo>
                  <a:lnTo>
                    <a:pt x="470" y="3419"/>
                  </a:lnTo>
                  <a:lnTo>
                    <a:pt x="0" y="3419"/>
                  </a:lnTo>
                  <a:lnTo>
                    <a:pt x="13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7210181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55AF73-9B0D-834F-A4FC-E32F62B4BA8B}" type="datetime1">
              <a:rPr lang="fi-FI" smtClean="0"/>
              <a:t>4.2.2019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‹#›</a:t>
            </a:fld>
            <a:endParaRPr lang="fi-FI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244800" y="244800"/>
            <a:ext cx="8654400" cy="4415974"/>
          </a:xfrm>
          <a:custGeom>
            <a:avLst/>
            <a:gdLst>
              <a:gd name="connsiteX0" fmla="*/ 0 w 8654400"/>
              <a:gd name="connsiteY0" fmla="*/ 88166 h 4412700"/>
              <a:gd name="connsiteX1" fmla="*/ 88166 w 8654400"/>
              <a:gd name="connsiteY1" fmla="*/ 0 h 4412700"/>
              <a:gd name="connsiteX2" fmla="*/ 8566234 w 8654400"/>
              <a:gd name="connsiteY2" fmla="*/ 0 h 4412700"/>
              <a:gd name="connsiteX3" fmla="*/ 8654400 w 8654400"/>
              <a:gd name="connsiteY3" fmla="*/ 88166 h 4412700"/>
              <a:gd name="connsiteX4" fmla="*/ 8654400 w 8654400"/>
              <a:gd name="connsiteY4" fmla="*/ 4324534 h 4412700"/>
              <a:gd name="connsiteX5" fmla="*/ 8566234 w 8654400"/>
              <a:gd name="connsiteY5" fmla="*/ 4412700 h 4412700"/>
              <a:gd name="connsiteX6" fmla="*/ 88166 w 8654400"/>
              <a:gd name="connsiteY6" fmla="*/ 4412700 h 4412700"/>
              <a:gd name="connsiteX7" fmla="*/ 0 w 8654400"/>
              <a:gd name="connsiteY7" fmla="*/ 4324534 h 4412700"/>
              <a:gd name="connsiteX8" fmla="*/ 0 w 8654400"/>
              <a:gd name="connsiteY8" fmla="*/ 88166 h 4412700"/>
              <a:gd name="connsiteX0" fmla="*/ 8566234 w 8745840"/>
              <a:gd name="connsiteY0" fmla="*/ 4412700 h 4415974"/>
              <a:gd name="connsiteX1" fmla="*/ 88166 w 8745840"/>
              <a:gd name="connsiteY1" fmla="*/ 4412700 h 4415974"/>
              <a:gd name="connsiteX2" fmla="*/ 0 w 8745840"/>
              <a:gd name="connsiteY2" fmla="*/ 4324534 h 4415974"/>
              <a:gd name="connsiteX3" fmla="*/ 0 w 8745840"/>
              <a:gd name="connsiteY3" fmla="*/ 88166 h 4415974"/>
              <a:gd name="connsiteX4" fmla="*/ 88166 w 8745840"/>
              <a:gd name="connsiteY4" fmla="*/ 0 h 4415974"/>
              <a:gd name="connsiteX5" fmla="*/ 8566234 w 8745840"/>
              <a:gd name="connsiteY5" fmla="*/ 0 h 4415974"/>
              <a:gd name="connsiteX6" fmla="*/ 8654400 w 8745840"/>
              <a:gd name="connsiteY6" fmla="*/ 88166 h 4415974"/>
              <a:gd name="connsiteX7" fmla="*/ 8745840 w 8745840"/>
              <a:gd name="connsiteY7" fmla="*/ 4415974 h 4415974"/>
              <a:gd name="connsiteX0" fmla="*/ 8566234 w 8745840"/>
              <a:gd name="connsiteY0" fmla="*/ 4412700 h 4415974"/>
              <a:gd name="connsiteX1" fmla="*/ 88166 w 8745840"/>
              <a:gd name="connsiteY1" fmla="*/ 4412700 h 4415974"/>
              <a:gd name="connsiteX2" fmla="*/ 0 w 8745840"/>
              <a:gd name="connsiteY2" fmla="*/ 4324534 h 4415974"/>
              <a:gd name="connsiteX3" fmla="*/ 0 w 8745840"/>
              <a:gd name="connsiteY3" fmla="*/ 88166 h 4415974"/>
              <a:gd name="connsiteX4" fmla="*/ 88166 w 8745840"/>
              <a:gd name="connsiteY4" fmla="*/ 0 h 4415974"/>
              <a:gd name="connsiteX5" fmla="*/ 8566234 w 8745840"/>
              <a:gd name="connsiteY5" fmla="*/ 0 h 4415974"/>
              <a:gd name="connsiteX6" fmla="*/ 8654400 w 8745840"/>
              <a:gd name="connsiteY6" fmla="*/ 88166 h 4415974"/>
              <a:gd name="connsiteX7" fmla="*/ 8745840 w 8745840"/>
              <a:gd name="connsiteY7" fmla="*/ 4415974 h 4415974"/>
              <a:gd name="connsiteX8" fmla="*/ 8566234 w 8745840"/>
              <a:gd name="connsiteY8" fmla="*/ 4412700 h 4415974"/>
              <a:gd name="connsiteX0" fmla="*/ 8745840 w 8745840"/>
              <a:gd name="connsiteY0" fmla="*/ 4415974 h 4415974"/>
              <a:gd name="connsiteX1" fmla="*/ 88166 w 8745840"/>
              <a:gd name="connsiteY1" fmla="*/ 4412700 h 4415974"/>
              <a:gd name="connsiteX2" fmla="*/ 0 w 8745840"/>
              <a:gd name="connsiteY2" fmla="*/ 4324534 h 4415974"/>
              <a:gd name="connsiteX3" fmla="*/ 0 w 8745840"/>
              <a:gd name="connsiteY3" fmla="*/ 88166 h 4415974"/>
              <a:gd name="connsiteX4" fmla="*/ 88166 w 8745840"/>
              <a:gd name="connsiteY4" fmla="*/ 0 h 4415974"/>
              <a:gd name="connsiteX5" fmla="*/ 8566234 w 8745840"/>
              <a:gd name="connsiteY5" fmla="*/ 0 h 4415974"/>
              <a:gd name="connsiteX6" fmla="*/ 8654400 w 8745840"/>
              <a:gd name="connsiteY6" fmla="*/ 88166 h 4415974"/>
              <a:gd name="connsiteX7" fmla="*/ 8745840 w 8745840"/>
              <a:gd name="connsiteY7" fmla="*/ 4415974 h 4415974"/>
              <a:gd name="connsiteX0" fmla="*/ 8653765 w 8654400"/>
              <a:gd name="connsiteY0" fmla="*/ 4415974 h 4415974"/>
              <a:gd name="connsiteX1" fmla="*/ 88166 w 8654400"/>
              <a:gd name="connsiteY1" fmla="*/ 4412700 h 4415974"/>
              <a:gd name="connsiteX2" fmla="*/ 0 w 8654400"/>
              <a:gd name="connsiteY2" fmla="*/ 4324534 h 4415974"/>
              <a:gd name="connsiteX3" fmla="*/ 0 w 8654400"/>
              <a:gd name="connsiteY3" fmla="*/ 88166 h 4415974"/>
              <a:gd name="connsiteX4" fmla="*/ 88166 w 8654400"/>
              <a:gd name="connsiteY4" fmla="*/ 0 h 4415974"/>
              <a:gd name="connsiteX5" fmla="*/ 8566234 w 8654400"/>
              <a:gd name="connsiteY5" fmla="*/ 0 h 4415974"/>
              <a:gd name="connsiteX6" fmla="*/ 8654400 w 8654400"/>
              <a:gd name="connsiteY6" fmla="*/ 88166 h 4415974"/>
              <a:gd name="connsiteX7" fmla="*/ 8653765 w 8654400"/>
              <a:gd name="connsiteY7" fmla="*/ 4415974 h 441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4400" h="4415974">
                <a:moveTo>
                  <a:pt x="8653765" y="4415974"/>
                </a:moveTo>
                <a:lnTo>
                  <a:pt x="88166" y="4412700"/>
                </a:lnTo>
                <a:cubicBezTo>
                  <a:pt x="39473" y="4412700"/>
                  <a:pt x="0" y="4373227"/>
                  <a:pt x="0" y="4324534"/>
                </a:cubicBezTo>
                <a:lnTo>
                  <a:pt x="0" y="88166"/>
                </a:lnTo>
                <a:cubicBezTo>
                  <a:pt x="0" y="39473"/>
                  <a:pt x="39473" y="0"/>
                  <a:pt x="88166" y="0"/>
                </a:cubicBezTo>
                <a:lnTo>
                  <a:pt x="8566234" y="0"/>
                </a:lnTo>
                <a:cubicBezTo>
                  <a:pt x="8614927" y="0"/>
                  <a:pt x="8654400" y="39473"/>
                  <a:pt x="8654400" y="88166"/>
                </a:cubicBezTo>
                <a:cubicBezTo>
                  <a:pt x="8654400" y="1500289"/>
                  <a:pt x="8653765" y="4415974"/>
                  <a:pt x="8653765" y="4415974"/>
                </a:cubicBezTo>
                <a:close/>
              </a:path>
            </a:pathLst>
          </a:cu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18778381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666666"/>
                </a:solidFill>
              </a:rPr>
              <a:t>2.7.2015</a:t>
            </a:r>
            <a:endParaRPr lang="fi-FI">
              <a:solidFill>
                <a:srgbClr val="666666"/>
              </a:solidFill>
            </a:endParaRPr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666666"/>
                </a:solidFill>
              </a:rPr>
              <a:t>Virpi Sasi</a:t>
            </a:r>
            <a:endParaRPr lang="fi-FI">
              <a:solidFill>
                <a:srgbClr val="666666"/>
              </a:solidFill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FA240B-475F-4B38-9A72-B90BECD61B50}" type="slidenum">
              <a:rPr lang="fi-FI" smtClean="0">
                <a:solidFill>
                  <a:srgbClr val="666666"/>
                </a:solidFill>
              </a:rPr>
              <a:pPr/>
              <a:t>‹#›</a:t>
            </a:fld>
            <a:endParaRPr lang="fi-FI">
              <a:solidFill>
                <a:srgbClr val="666666"/>
              </a:solidFill>
            </a:endParaRPr>
          </a:p>
        </p:txBody>
      </p:sp>
      <p:sp>
        <p:nvSpPr>
          <p:cNvPr id="5" name="dsecurity"/>
          <p:cNvSpPr txBox="1"/>
          <p:nvPr userDrawn="1"/>
        </p:nvSpPr>
        <p:spPr>
          <a:xfrm>
            <a:off x="6876256" y="4795199"/>
            <a:ext cx="1440160" cy="27270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endParaRPr lang="fi-FI" sz="1200" dirty="0">
              <a:solidFill>
                <a:srgbClr val="666666"/>
              </a:solidFill>
            </a:endParaRPr>
          </a:p>
        </p:txBody>
      </p:sp>
      <p:sp>
        <p:nvSpPr>
          <p:cNvPr id="6" name="Otsikon paikkamerkki 1"/>
          <p:cNvSpPr>
            <a:spLocks noGrp="1"/>
          </p:cNvSpPr>
          <p:nvPr>
            <p:ph type="title"/>
          </p:nvPr>
        </p:nvSpPr>
        <p:spPr>
          <a:xfrm>
            <a:off x="676800" y="91800"/>
            <a:ext cx="76968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1"/>
          </p:nvPr>
        </p:nvSpPr>
        <p:spPr>
          <a:xfrm>
            <a:off x="684000" y="1144800"/>
            <a:ext cx="7696800" cy="3161700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29948327"/>
      </p:ext>
    </p:extLst>
  </p:cSld>
  <p:clrMapOvr>
    <a:masterClrMapping/>
  </p:clrMapOvr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230400"/>
            <a:ext cx="8647200" cy="613879"/>
          </a:xfrm>
          <a:noFill/>
          <a:ln>
            <a:noFill/>
          </a:ln>
        </p:spPr>
        <p:txBody>
          <a:bodyPr lIns="0" bIns="0" anchor="ctr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66CD00"/>
              </a:buClr>
              <a:buSzTx/>
              <a:buFont typeface="Arial" panose="020B0604020202020204" pitchFamily="34" charset="0"/>
              <a:buNone/>
              <a:tabLst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66CD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i-FI" dirty="0"/>
              <a:t>Action </a:t>
            </a:r>
            <a:r>
              <a:rPr lang="fi-FI" dirty="0" err="1"/>
              <a:t>title</a:t>
            </a:r>
            <a:r>
              <a:rPr lang="fi-FI" dirty="0"/>
              <a:t>, </a:t>
            </a:r>
            <a:r>
              <a:rPr lang="fi-FI" dirty="0" err="1"/>
              <a:t>max</a:t>
            </a:r>
            <a:r>
              <a:rPr lang="fi-FI" dirty="0"/>
              <a:t>. 2 </a:t>
            </a:r>
            <a:r>
              <a:rPr lang="fi-FI" dirty="0" err="1"/>
              <a:t>lines</a:t>
            </a:r>
            <a:r>
              <a:rPr lang="fi-FI" dirty="0"/>
              <a:t>.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52000" y="850790"/>
            <a:ext cx="8647200" cy="373210"/>
          </a:xfrm>
        </p:spPr>
        <p:txBody>
          <a:bodyPr/>
          <a:lstStyle/>
          <a:p>
            <a:r>
              <a:rPr lang="fi-FI" dirty="0" err="1" smtClean="0"/>
              <a:t>Subject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66666">
                    <a:tint val="75000"/>
                  </a:srgbClr>
                </a:solidFill>
              </a:rPr>
              <a:t>2.5.2017</a:t>
            </a:r>
            <a:endParaRPr lang="fi-FI" dirty="0">
              <a:solidFill>
                <a:srgbClr val="66666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66666">
                    <a:tint val="75000"/>
                  </a:srgbClr>
                </a:solidFill>
              </a:rPr>
              <a:t>This material is confidential and intended for Neste internal use only</a:t>
            </a:r>
            <a:endParaRPr lang="fi-FI" dirty="0">
              <a:solidFill>
                <a:srgbClr val="66666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2566710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hit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 smtClean="0"/>
              <a:t>Click to edit Master title style</a:t>
            </a:r>
            <a:endParaRPr lang="fi-FI" noProof="0"/>
          </a:p>
        </p:txBody>
      </p:sp>
      <p:sp>
        <p:nvSpPr>
          <p:cNvPr id="3" name="Date Placeholder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666666"/>
                </a:solidFill>
              </a:rPr>
              <a:t>13.3.2014</a:t>
            </a:r>
            <a:endParaRPr lang="fi-FI">
              <a:solidFill>
                <a:srgbClr val="666666"/>
              </a:solidFill>
            </a:endParaRPr>
          </a:p>
        </p:txBody>
      </p:sp>
      <p:sp>
        <p:nvSpPr>
          <p:cNvPr id="4" name="Footer Placeholder 1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srgbClr val="666666"/>
                </a:solidFill>
              </a:rPr>
              <a:t> </a:t>
            </a:r>
            <a:endParaRPr lang="fi-FI">
              <a:solidFill>
                <a:srgbClr val="666666"/>
              </a:solidFill>
            </a:endParaRPr>
          </a:p>
        </p:txBody>
      </p:sp>
      <p:sp>
        <p:nvSpPr>
          <p:cNvPr id="5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E1B9C9-BA74-497A-8FC5-E238B90AB52C}" type="slidenum">
              <a:rPr lang="fi-FI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fi-FI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9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1" userDrawn="1">
  <p:cSld name="1_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/>
              <a:t>17.3.2017</a:t>
            </a:r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‹#›</a:t>
            </a:fld>
            <a:endParaRPr lang="fi-FI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244800" y="244800"/>
            <a:ext cx="8654400" cy="4415974"/>
          </a:xfrm>
          <a:custGeom>
            <a:avLst/>
            <a:gdLst>
              <a:gd name="connsiteX0" fmla="*/ 0 w 8654400"/>
              <a:gd name="connsiteY0" fmla="*/ 88166 h 4412700"/>
              <a:gd name="connsiteX1" fmla="*/ 88166 w 8654400"/>
              <a:gd name="connsiteY1" fmla="*/ 0 h 4412700"/>
              <a:gd name="connsiteX2" fmla="*/ 8566234 w 8654400"/>
              <a:gd name="connsiteY2" fmla="*/ 0 h 4412700"/>
              <a:gd name="connsiteX3" fmla="*/ 8654400 w 8654400"/>
              <a:gd name="connsiteY3" fmla="*/ 88166 h 4412700"/>
              <a:gd name="connsiteX4" fmla="*/ 8654400 w 8654400"/>
              <a:gd name="connsiteY4" fmla="*/ 4324534 h 4412700"/>
              <a:gd name="connsiteX5" fmla="*/ 8566234 w 8654400"/>
              <a:gd name="connsiteY5" fmla="*/ 4412700 h 4412700"/>
              <a:gd name="connsiteX6" fmla="*/ 88166 w 8654400"/>
              <a:gd name="connsiteY6" fmla="*/ 4412700 h 4412700"/>
              <a:gd name="connsiteX7" fmla="*/ 0 w 8654400"/>
              <a:gd name="connsiteY7" fmla="*/ 4324534 h 4412700"/>
              <a:gd name="connsiteX8" fmla="*/ 0 w 8654400"/>
              <a:gd name="connsiteY8" fmla="*/ 88166 h 4412700"/>
              <a:gd name="connsiteX0" fmla="*/ 8566234 w 8745840"/>
              <a:gd name="connsiteY0" fmla="*/ 4412700 h 4415974"/>
              <a:gd name="connsiteX1" fmla="*/ 88166 w 8745840"/>
              <a:gd name="connsiteY1" fmla="*/ 4412700 h 4415974"/>
              <a:gd name="connsiteX2" fmla="*/ 0 w 8745840"/>
              <a:gd name="connsiteY2" fmla="*/ 4324534 h 4415974"/>
              <a:gd name="connsiteX3" fmla="*/ 0 w 8745840"/>
              <a:gd name="connsiteY3" fmla="*/ 88166 h 4415974"/>
              <a:gd name="connsiteX4" fmla="*/ 88166 w 8745840"/>
              <a:gd name="connsiteY4" fmla="*/ 0 h 4415974"/>
              <a:gd name="connsiteX5" fmla="*/ 8566234 w 8745840"/>
              <a:gd name="connsiteY5" fmla="*/ 0 h 4415974"/>
              <a:gd name="connsiteX6" fmla="*/ 8654400 w 8745840"/>
              <a:gd name="connsiteY6" fmla="*/ 88166 h 4415974"/>
              <a:gd name="connsiteX7" fmla="*/ 8745840 w 8745840"/>
              <a:gd name="connsiteY7" fmla="*/ 4415974 h 4415974"/>
              <a:gd name="connsiteX0" fmla="*/ 8566234 w 8745840"/>
              <a:gd name="connsiteY0" fmla="*/ 4412700 h 4415974"/>
              <a:gd name="connsiteX1" fmla="*/ 88166 w 8745840"/>
              <a:gd name="connsiteY1" fmla="*/ 4412700 h 4415974"/>
              <a:gd name="connsiteX2" fmla="*/ 0 w 8745840"/>
              <a:gd name="connsiteY2" fmla="*/ 4324534 h 4415974"/>
              <a:gd name="connsiteX3" fmla="*/ 0 w 8745840"/>
              <a:gd name="connsiteY3" fmla="*/ 88166 h 4415974"/>
              <a:gd name="connsiteX4" fmla="*/ 88166 w 8745840"/>
              <a:gd name="connsiteY4" fmla="*/ 0 h 4415974"/>
              <a:gd name="connsiteX5" fmla="*/ 8566234 w 8745840"/>
              <a:gd name="connsiteY5" fmla="*/ 0 h 4415974"/>
              <a:gd name="connsiteX6" fmla="*/ 8654400 w 8745840"/>
              <a:gd name="connsiteY6" fmla="*/ 88166 h 4415974"/>
              <a:gd name="connsiteX7" fmla="*/ 8745840 w 8745840"/>
              <a:gd name="connsiteY7" fmla="*/ 4415974 h 4415974"/>
              <a:gd name="connsiteX8" fmla="*/ 8566234 w 8745840"/>
              <a:gd name="connsiteY8" fmla="*/ 4412700 h 4415974"/>
              <a:gd name="connsiteX0" fmla="*/ 8745840 w 8745840"/>
              <a:gd name="connsiteY0" fmla="*/ 4415974 h 4415974"/>
              <a:gd name="connsiteX1" fmla="*/ 88166 w 8745840"/>
              <a:gd name="connsiteY1" fmla="*/ 4412700 h 4415974"/>
              <a:gd name="connsiteX2" fmla="*/ 0 w 8745840"/>
              <a:gd name="connsiteY2" fmla="*/ 4324534 h 4415974"/>
              <a:gd name="connsiteX3" fmla="*/ 0 w 8745840"/>
              <a:gd name="connsiteY3" fmla="*/ 88166 h 4415974"/>
              <a:gd name="connsiteX4" fmla="*/ 88166 w 8745840"/>
              <a:gd name="connsiteY4" fmla="*/ 0 h 4415974"/>
              <a:gd name="connsiteX5" fmla="*/ 8566234 w 8745840"/>
              <a:gd name="connsiteY5" fmla="*/ 0 h 4415974"/>
              <a:gd name="connsiteX6" fmla="*/ 8654400 w 8745840"/>
              <a:gd name="connsiteY6" fmla="*/ 88166 h 4415974"/>
              <a:gd name="connsiteX7" fmla="*/ 8745840 w 8745840"/>
              <a:gd name="connsiteY7" fmla="*/ 4415974 h 4415974"/>
              <a:gd name="connsiteX0" fmla="*/ 8653765 w 8654400"/>
              <a:gd name="connsiteY0" fmla="*/ 4415974 h 4415974"/>
              <a:gd name="connsiteX1" fmla="*/ 88166 w 8654400"/>
              <a:gd name="connsiteY1" fmla="*/ 4412700 h 4415974"/>
              <a:gd name="connsiteX2" fmla="*/ 0 w 8654400"/>
              <a:gd name="connsiteY2" fmla="*/ 4324534 h 4415974"/>
              <a:gd name="connsiteX3" fmla="*/ 0 w 8654400"/>
              <a:gd name="connsiteY3" fmla="*/ 88166 h 4415974"/>
              <a:gd name="connsiteX4" fmla="*/ 88166 w 8654400"/>
              <a:gd name="connsiteY4" fmla="*/ 0 h 4415974"/>
              <a:gd name="connsiteX5" fmla="*/ 8566234 w 8654400"/>
              <a:gd name="connsiteY5" fmla="*/ 0 h 4415974"/>
              <a:gd name="connsiteX6" fmla="*/ 8654400 w 8654400"/>
              <a:gd name="connsiteY6" fmla="*/ 88166 h 4415974"/>
              <a:gd name="connsiteX7" fmla="*/ 8653765 w 8654400"/>
              <a:gd name="connsiteY7" fmla="*/ 4415974 h 441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4400" h="4415974">
                <a:moveTo>
                  <a:pt x="8653765" y="4415974"/>
                </a:moveTo>
                <a:lnTo>
                  <a:pt x="88166" y="4412700"/>
                </a:lnTo>
                <a:cubicBezTo>
                  <a:pt x="39473" y="4412700"/>
                  <a:pt x="0" y="4373227"/>
                  <a:pt x="0" y="4324534"/>
                </a:cubicBezTo>
                <a:lnTo>
                  <a:pt x="0" y="88166"/>
                </a:lnTo>
                <a:cubicBezTo>
                  <a:pt x="0" y="39473"/>
                  <a:pt x="39473" y="0"/>
                  <a:pt x="88166" y="0"/>
                </a:cubicBezTo>
                <a:lnTo>
                  <a:pt x="8566234" y="0"/>
                </a:lnTo>
                <a:cubicBezTo>
                  <a:pt x="8614927" y="0"/>
                  <a:pt x="8654400" y="39473"/>
                  <a:pt x="8654400" y="88166"/>
                </a:cubicBezTo>
                <a:cubicBezTo>
                  <a:pt x="8654400" y="1500289"/>
                  <a:pt x="8653765" y="4415974"/>
                  <a:pt x="8653765" y="4415974"/>
                </a:cubicBezTo>
                <a:close/>
              </a:path>
            </a:pathLst>
          </a:cu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Insert picture he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3283266"/>
      </p:ext>
    </p:extLst>
  </p:cSld>
  <p:clrMapOvr>
    <a:masterClrMapping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838201"/>
            <a:ext cx="9144000" cy="3888581"/>
          </a:xfrm>
          <a:prstGeom prst="rect">
            <a:avLst/>
          </a:prstGeom>
          <a:solidFill>
            <a:srgbClr val="98DD5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>
              <a:solidFill>
                <a:srgbClr val="FFFFFF"/>
              </a:solidFill>
            </a:endParaRPr>
          </a:p>
        </p:txBody>
      </p:sp>
      <p:sp>
        <p:nvSpPr>
          <p:cNvPr id="5" name="Snip and Round Single Corner Rectangle 4"/>
          <p:cNvSpPr/>
          <p:nvPr userDrawn="1"/>
        </p:nvSpPr>
        <p:spPr>
          <a:xfrm rot="10800000">
            <a:off x="684214" y="1140619"/>
            <a:ext cx="7705725" cy="3174206"/>
          </a:xfrm>
          <a:prstGeom prst="snipRoundRect">
            <a:avLst>
              <a:gd name="adj1" fmla="val 16338"/>
              <a:gd name="adj2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noProof="1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84214" y="1145381"/>
            <a:ext cx="7392987" cy="3162300"/>
          </a:xfrm>
        </p:spPr>
        <p:txBody>
          <a:bodyPr lIns="180000" tIns="72000"/>
          <a:lstStyle>
            <a:lvl1pPr algn="l" rtl="0" eaLnBrk="0" fontAlgn="base" hangingPunct="0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chemeClr val="accent1"/>
              </a:buCl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chemeClr val="accent1"/>
              </a:buCl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chemeClr val="accent1"/>
              </a:buCl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chemeClr val="accent1"/>
              </a:buCl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chemeClr val="accent1"/>
              </a:buClr>
              <a:defRPr lang="fi-FI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6" name="Date Placeholder 1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34FD90-6671-4F52-93F0-5B0BFCA22A17}" type="datetime1">
              <a:rPr lang="fi-FI">
                <a:solidFill>
                  <a:srgbClr val="666666"/>
                </a:solidFill>
              </a:rPr>
              <a:pPr>
                <a:defRPr/>
              </a:pPr>
              <a:t>4.2.2019</a:t>
            </a:fld>
            <a:endParaRPr lang="fi-FI">
              <a:solidFill>
                <a:srgbClr val="666666"/>
              </a:solidFill>
            </a:endParaRPr>
          </a:p>
        </p:txBody>
      </p:sp>
      <p:sp>
        <p:nvSpPr>
          <p:cNvPr id="7" name="Slide Number Placehold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84B78D-97C0-4A49-8FA0-F96E1B45C644}" type="slidenum">
              <a:rPr lang="fi-FI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fi-FI">
              <a:solidFill>
                <a:srgbClr val="666666"/>
              </a:solidFill>
            </a:endParaRPr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4745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y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838201"/>
            <a:ext cx="9144000" cy="3888581"/>
          </a:xfrm>
          <a:prstGeom prst="rect">
            <a:avLst/>
          </a:prstGeom>
          <a:solidFill>
            <a:srgbClr val="E5E5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35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 smtClean="0"/>
              <a:t>Click to edit Master title style</a:t>
            </a:r>
            <a:endParaRPr lang="fi-FI" noProof="0"/>
          </a:p>
        </p:txBody>
      </p:sp>
      <p:sp>
        <p:nvSpPr>
          <p:cNvPr id="4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srgbClr val="666666"/>
                </a:solidFill>
              </a:rPr>
              <a:t>25.8.2014</a:t>
            </a:r>
            <a:endParaRPr lang="fi-FI">
              <a:solidFill>
                <a:srgbClr val="666666"/>
              </a:solidFill>
            </a:endParaRPr>
          </a:p>
        </p:txBody>
      </p:sp>
      <p:sp>
        <p:nvSpPr>
          <p:cNvPr id="5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E7F669-E7D4-40D5-9EF9-FAFD2D64A09D}" type="slidenum">
              <a:rPr lang="fi-FI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fi-FI">
              <a:solidFill>
                <a:srgbClr val="666666"/>
              </a:solidFill>
            </a:endParaRPr>
          </a:p>
        </p:txBody>
      </p:sp>
      <p:sp>
        <p:nvSpPr>
          <p:cNvPr id="6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srgbClr val="666666"/>
                </a:solidFill>
              </a:rPr>
              <a:t> </a:t>
            </a:r>
            <a:endParaRPr lang="fi-FI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134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Click to edit Master title style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E7DD3-A03F-44FF-AE2D-B7E5D6269327}" type="datetime1">
              <a:rPr lang="fi-FI" smtClean="0"/>
              <a:t>4.2.2019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3028950" y="4770000"/>
            <a:ext cx="3086100" cy="274637"/>
          </a:xfrm>
        </p:spPr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725128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 Curv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ardrop 33"/>
          <p:cNvSpPr/>
          <p:nvPr userDrawn="1"/>
        </p:nvSpPr>
        <p:spPr>
          <a:xfrm>
            <a:off x="7811236" y="1862479"/>
            <a:ext cx="1184977" cy="1184977"/>
          </a:xfrm>
          <a:prstGeom prst="teardrop">
            <a:avLst/>
          </a:prstGeom>
          <a:noFill/>
          <a:ln w="12700" cmpd="sng">
            <a:solidFill>
              <a:srgbClr val="66CD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8" name="Teardrop 34"/>
          <p:cNvSpPr/>
          <p:nvPr userDrawn="1"/>
        </p:nvSpPr>
        <p:spPr>
          <a:xfrm>
            <a:off x="7104993" y="2305846"/>
            <a:ext cx="1772661" cy="1772661"/>
          </a:xfrm>
          <a:prstGeom prst="teardrop">
            <a:avLst/>
          </a:prstGeom>
          <a:noFill/>
          <a:ln w="12700" cmpd="sng">
            <a:solidFill>
              <a:srgbClr val="66CD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4" name="Freeform 5"/>
          <p:cNvSpPr>
            <a:spLocks noEditPoints="1"/>
          </p:cNvSpPr>
          <p:nvPr userDrawn="1"/>
        </p:nvSpPr>
        <p:spPr bwMode="auto">
          <a:xfrm>
            <a:off x="7092720" y="2030413"/>
            <a:ext cx="2043113" cy="3116263"/>
          </a:xfrm>
          <a:custGeom>
            <a:avLst/>
            <a:gdLst>
              <a:gd name="T0" fmla="*/ 0 w 5664"/>
              <a:gd name="T1" fmla="*/ 6159 h 8626"/>
              <a:gd name="T2" fmla="*/ 8 w 5664"/>
              <a:gd name="T3" fmla="*/ 5841 h 8626"/>
              <a:gd name="T4" fmla="*/ 30 w 5664"/>
              <a:gd name="T5" fmla="*/ 5524 h 8626"/>
              <a:gd name="T6" fmla="*/ 68 w 5664"/>
              <a:gd name="T7" fmla="*/ 5215 h 8626"/>
              <a:gd name="T8" fmla="*/ 123 w 5664"/>
              <a:gd name="T9" fmla="*/ 4910 h 8626"/>
              <a:gd name="T10" fmla="*/ 195 w 5664"/>
              <a:gd name="T11" fmla="*/ 4613 h 8626"/>
              <a:gd name="T12" fmla="*/ 275 w 5664"/>
              <a:gd name="T13" fmla="*/ 4321 h 8626"/>
              <a:gd name="T14" fmla="*/ 372 w 5664"/>
              <a:gd name="T15" fmla="*/ 4034 h 8626"/>
              <a:gd name="T16" fmla="*/ 482 w 5664"/>
              <a:gd name="T17" fmla="*/ 3750 h 8626"/>
              <a:gd name="T18" fmla="*/ 609 w 5664"/>
              <a:gd name="T19" fmla="*/ 3479 h 8626"/>
              <a:gd name="T20" fmla="*/ 745 w 5664"/>
              <a:gd name="T21" fmla="*/ 3212 h 8626"/>
              <a:gd name="T22" fmla="*/ 893 w 5664"/>
              <a:gd name="T23" fmla="*/ 2954 h 8626"/>
              <a:gd name="T24" fmla="*/ 1054 w 5664"/>
              <a:gd name="T25" fmla="*/ 2700 h 8626"/>
              <a:gd name="T26" fmla="*/ 1228 w 5664"/>
              <a:gd name="T27" fmla="*/ 2459 h 8626"/>
              <a:gd name="T28" fmla="*/ 1410 w 5664"/>
              <a:gd name="T29" fmla="*/ 2226 h 8626"/>
              <a:gd name="T30" fmla="*/ 1604 w 5664"/>
              <a:gd name="T31" fmla="*/ 2002 h 8626"/>
              <a:gd name="T32" fmla="*/ 1807 w 5664"/>
              <a:gd name="T33" fmla="*/ 1786 h 8626"/>
              <a:gd name="T34" fmla="*/ 2023 w 5664"/>
              <a:gd name="T35" fmla="*/ 1583 h 8626"/>
              <a:gd name="T36" fmla="*/ 2248 w 5664"/>
              <a:gd name="T37" fmla="*/ 1388 h 8626"/>
              <a:gd name="T38" fmla="*/ 2481 w 5664"/>
              <a:gd name="T39" fmla="*/ 1206 h 8626"/>
              <a:gd name="T40" fmla="*/ 2722 w 5664"/>
              <a:gd name="T41" fmla="*/ 1032 h 8626"/>
              <a:gd name="T42" fmla="*/ 2976 w 5664"/>
              <a:gd name="T43" fmla="*/ 871 h 8626"/>
              <a:gd name="T44" fmla="*/ 3234 w 5664"/>
              <a:gd name="T45" fmla="*/ 723 h 8626"/>
              <a:gd name="T46" fmla="*/ 3501 w 5664"/>
              <a:gd name="T47" fmla="*/ 588 h 8626"/>
              <a:gd name="T48" fmla="*/ 3772 w 5664"/>
              <a:gd name="T49" fmla="*/ 461 h 8626"/>
              <a:gd name="T50" fmla="*/ 4055 w 5664"/>
              <a:gd name="T51" fmla="*/ 351 h 8626"/>
              <a:gd name="T52" fmla="*/ 4343 w 5664"/>
              <a:gd name="T53" fmla="*/ 253 h 8626"/>
              <a:gd name="T54" fmla="*/ 4635 w 5664"/>
              <a:gd name="T55" fmla="*/ 173 h 8626"/>
              <a:gd name="T56" fmla="*/ 4932 w 5664"/>
              <a:gd name="T57" fmla="*/ 101 h 8626"/>
              <a:gd name="T58" fmla="*/ 5236 w 5664"/>
              <a:gd name="T59" fmla="*/ 46 h 8626"/>
              <a:gd name="T60" fmla="*/ 5545 w 5664"/>
              <a:gd name="T61" fmla="*/ 8 h 8626"/>
              <a:gd name="T62" fmla="*/ 5664 w 5664"/>
              <a:gd name="T63" fmla="*/ 0 h 8626"/>
              <a:gd name="T64" fmla="*/ 512 w 5664"/>
              <a:gd name="T65" fmla="*/ 8626 h 8626"/>
              <a:gd name="T66" fmla="*/ 482 w 5664"/>
              <a:gd name="T67" fmla="*/ 8563 h 8626"/>
              <a:gd name="T68" fmla="*/ 372 w 5664"/>
              <a:gd name="T69" fmla="*/ 8284 h 8626"/>
              <a:gd name="T70" fmla="*/ 275 w 5664"/>
              <a:gd name="T71" fmla="*/ 7996 h 8626"/>
              <a:gd name="T72" fmla="*/ 195 w 5664"/>
              <a:gd name="T73" fmla="*/ 7704 h 8626"/>
              <a:gd name="T74" fmla="*/ 123 w 5664"/>
              <a:gd name="T75" fmla="*/ 7403 h 8626"/>
              <a:gd name="T76" fmla="*/ 68 w 5664"/>
              <a:gd name="T77" fmla="*/ 7098 h 8626"/>
              <a:gd name="T78" fmla="*/ 30 w 5664"/>
              <a:gd name="T79" fmla="*/ 6789 h 8626"/>
              <a:gd name="T80" fmla="*/ 8 w 5664"/>
              <a:gd name="T81" fmla="*/ 6476 h 8626"/>
              <a:gd name="T82" fmla="*/ 0 w 5664"/>
              <a:gd name="T83" fmla="*/ 6159 h 86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664" h="8626">
                <a:moveTo>
                  <a:pt x="0" y="6159"/>
                </a:moveTo>
                <a:lnTo>
                  <a:pt x="8" y="5841"/>
                </a:lnTo>
                <a:lnTo>
                  <a:pt x="30" y="5524"/>
                </a:lnTo>
                <a:lnTo>
                  <a:pt x="68" y="5215"/>
                </a:lnTo>
                <a:lnTo>
                  <a:pt x="123" y="4910"/>
                </a:lnTo>
                <a:lnTo>
                  <a:pt x="195" y="4613"/>
                </a:lnTo>
                <a:lnTo>
                  <a:pt x="275" y="4321"/>
                </a:lnTo>
                <a:lnTo>
                  <a:pt x="372" y="4034"/>
                </a:lnTo>
                <a:lnTo>
                  <a:pt x="482" y="3750"/>
                </a:lnTo>
                <a:lnTo>
                  <a:pt x="609" y="3479"/>
                </a:lnTo>
                <a:lnTo>
                  <a:pt x="745" y="3212"/>
                </a:lnTo>
                <a:lnTo>
                  <a:pt x="893" y="2954"/>
                </a:lnTo>
                <a:lnTo>
                  <a:pt x="1054" y="2700"/>
                </a:lnTo>
                <a:lnTo>
                  <a:pt x="1228" y="2459"/>
                </a:lnTo>
                <a:lnTo>
                  <a:pt x="1410" y="2226"/>
                </a:lnTo>
                <a:lnTo>
                  <a:pt x="1604" y="2002"/>
                </a:lnTo>
                <a:lnTo>
                  <a:pt x="1807" y="1786"/>
                </a:lnTo>
                <a:lnTo>
                  <a:pt x="2023" y="1583"/>
                </a:lnTo>
                <a:lnTo>
                  <a:pt x="2248" y="1388"/>
                </a:lnTo>
                <a:lnTo>
                  <a:pt x="2481" y="1206"/>
                </a:lnTo>
                <a:lnTo>
                  <a:pt x="2722" y="1032"/>
                </a:lnTo>
                <a:lnTo>
                  <a:pt x="2976" y="871"/>
                </a:lnTo>
                <a:lnTo>
                  <a:pt x="3234" y="723"/>
                </a:lnTo>
                <a:lnTo>
                  <a:pt x="3501" y="588"/>
                </a:lnTo>
                <a:lnTo>
                  <a:pt x="3772" y="461"/>
                </a:lnTo>
                <a:lnTo>
                  <a:pt x="4055" y="351"/>
                </a:lnTo>
                <a:lnTo>
                  <a:pt x="4343" y="253"/>
                </a:lnTo>
                <a:lnTo>
                  <a:pt x="4635" y="173"/>
                </a:lnTo>
                <a:lnTo>
                  <a:pt x="4932" y="101"/>
                </a:lnTo>
                <a:lnTo>
                  <a:pt x="5236" y="46"/>
                </a:lnTo>
                <a:lnTo>
                  <a:pt x="5545" y="8"/>
                </a:lnTo>
                <a:lnTo>
                  <a:pt x="5664" y="0"/>
                </a:lnTo>
                <a:moveTo>
                  <a:pt x="512" y="8626"/>
                </a:moveTo>
                <a:lnTo>
                  <a:pt x="482" y="8563"/>
                </a:lnTo>
                <a:lnTo>
                  <a:pt x="372" y="8284"/>
                </a:lnTo>
                <a:lnTo>
                  <a:pt x="275" y="7996"/>
                </a:lnTo>
                <a:lnTo>
                  <a:pt x="195" y="7704"/>
                </a:lnTo>
                <a:lnTo>
                  <a:pt x="123" y="7403"/>
                </a:lnTo>
                <a:lnTo>
                  <a:pt x="68" y="7098"/>
                </a:lnTo>
                <a:lnTo>
                  <a:pt x="30" y="6789"/>
                </a:lnTo>
                <a:lnTo>
                  <a:pt x="8" y="6476"/>
                </a:lnTo>
                <a:lnTo>
                  <a:pt x="0" y="6159"/>
                </a:lnTo>
              </a:path>
            </a:pathLst>
          </a:custGeom>
          <a:noFill/>
          <a:ln w="12700" cap="flat">
            <a:solidFill>
              <a:srgbClr val="66C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Click to edit Master title style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244800" y="1346400"/>
            <a:ext cx="6408000" cy="3308400"/>
          </a:xfrm>
        </p:spPr>
        <p:txBody>
          <a:bodyPr/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220935-E6B2-487F-B994-1C15FCD82A34}" type="datetime1">
              <a:rPr lang="fi-FI" smtClean="0"/>
              <a:t>4.2.2019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61397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Curv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/>
          <p:cNvSpPr>
            <a:spLocks noEditPoints="1"/>
          </p:cNvSpPr>
          <p:nvPr userDrawn="1"/>
        </p:nvSpPr>
        <p:spPr bwMode="auto">
          <a:xfrm>
            <a:off x="6574011" y="1707656"/>
            <a:ext cx="2569989" cy="3438334"/>
          </a:xfrm>
          <a:custGeom>
            <a:avLst/>
            <a:gdLst>
              <a:gd name="T0" fmla="*/ 0 w 11631"/>
              <a:gd name="T1" fmla="*/ 9170 h 15546"/>
              <a:gd name="T2" fmla="*/ 9170 w 11631"/>
              <a:gd name="T3" fmla="*/ 0 h 15546"/>
              <a:gd name="T4" fmla="*/ 11631 w 11631"/>
              <a:gd name="T5" fmla="*/ 0 h 15546"/>
              <a:gd name="T6" fmla="*/ 2580 w 11631"/>
              <a:gd name="T7" fmla="*/ 15546 h 15546"/>
              <a:gd name="T8" fmla="*/ 0 w 11631"/>
              <a:gd name="T9" fmla="*/ 9170 h 15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631" h="15546">
                <a:moveTo>
                  <a:pt x="0" y="9170"/>
                </a:moveTo>
                <a:cubicBezTo>
                  <a:pt x="0" y="4105"/>
                  <a:pt x="4105" y="0"/>
                  <a:pt x="9170" y="0"/>
                </a:cubicBezTo>
                <a:lnTo>
                  <a:pt x="11631" y="0"/>
                </a:lnTo>
                <a:moveTo>
                  <a:pt x="2580" y="15546"/>
                </a:moveTo>
                <a:cubicBezTo>
                  <a:pt x="983" y="13896"/>
                  <a:pt x="0" y="11648"/>
                  <a:pt x="0" y="9170"/>
                </a:cubicBezTo>
              </a:path>
            </a:pathLst>
          </a:custGeom>
          <a:noFill/>
          <a:ln w="12700" cap="flat">
            <a:solidFill>
              <a:srgbClr val="66C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Click to edit Master title style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244800" y="1346400"/>
            <a:ext cx="6408000" cy="3308400"/>
          </a:xfrm>
        </p:spPr>
        <p:txBody>
          <a:bodyPr/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220935-E6B2-487F-B994-1C15FCD82A34}" type="datetime1">
              <a:rPr lang="fi-FI" smtClean="0"/>
              <a:t>4.2.2019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‹#›</a:t>
            </a:fld>
            <a:endParaRPr lang="fi-FI" dirty="0"/>
          </a:p>
        </p:txBody>
      </p:sp>
      <p:sp>
        <p:nvSpPr>
          <p:cNvPr id="7" name="Teardrop 33"/>
          <p:cNvSpPr/>
          <p:nvPr userDrawn="1"/>
        </p:nvSpPr>
        <p:spPr>
          <a:xfrm>
            <a:off x="7593995" y="3068272"/>
            <a:ext cx="1184977" cy="1184977"/>
          </a:xfrm>
          <a:prstGeom prst="teardrop">
            <a:avLst/>
          </a:prstGeom>
          <a:noFill/>
          <a:ln w="12700" cmpd="sng">
            <a:solidFill>
              <a:srgbClr val="66CD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8" name="Teardrop 34"/>
          <p:cNvSpPr/>
          <p:nvPr userDrawn="1"/>
        </p:nvSpPr>
        <p:spPr>
          <a:xfrm>
            <a:off x="6873265" y="1654162"/>
            <a:ext cx="1772661" cy="1772661"/>
          </a:xfrm>
          <a:prstGeom prst="teardrop">
            <a:avLst/>
          </a:prstGeom>
          <a:noFill/>
          <a:ln w="12700" cmpd="sng">
            <a:solidFill>
              <a:srgbClr val="66CD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02901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Curve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ardrop 33"/>
          <p:cNvSpPr/>
          <p:nvPr userDrawn="1"/>
        </p:nvSpPr>
        <p:spPr>
          <a:xfrm>
            <a:off x="7490943" y="1839341"/>
            <a:ext cx="1001333" cy="1001333"/>
          </a:xfrm>
          <a:prstGeom prst="teardrop">
            <a:avLst/>
          </a:prstGeom>
          <a:noFill/>
          <a:ln w="12700" cmpd="sng">
            <a:solidFill>
              <a:srgbClr val="66CD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8" name="Teardrop 34"/>
          <p:cNvSpPr/>
          <p:nvPr userDrawn="1"/>
        </p:nvSpPr>
        <p:spPr>
          <a:xfrm>
            <a:off x="6791575" y="2484351"/>
            <a:ext cx="2170449" cy="2170449"/>
          </a:xfrm>
          <a:prstGeom prst="teardrop">
            <a:avLst/>
          </a:prstGeom>
          <a:noFill/>
          <a:ln w="12700" cmpd="sng">
            <a:solidFill>
              <a:srgbClr val="66CD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auto">
          <a:xfrm>
            <a:off x="6876286" y="0"/>
            <a:ext cx="2271076" cy="3492000"/>
          </a:xfrm>
          <a:custGeom>
            <a:avLst/>
            <a:gdLst>
              <a:gd name="T0" fmla="*/ 0 w 14118"/>
              <a:gd name="T1" fmla="*/ 10666 h 21687"/>
              <a:gd name="T2" fmla="*/ 8235 w 14118"/>
              <a:gd name="T3" fmla="*/ 0 h 21687"/>
              <a:gd name="T4" fmla="*/ 14118 w 14118"/>
              <a:gd name="T5" fmla="*/ 21245 h 21687"/>
              <a:gd name="T6" fmla="*/ 11021 w 14118"/>
              <a:gd name="T7" fmla="*/ 21687 h 21687"/>
              <a:gd name="T8" fmla="*/ 0 w 14118"/>
              <a:gd name="T9" fmla="*/ 10666 h 216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118" h="21687">
                <a:moveTo>
                  <a:pt x="0" y="10666"/>
                </a:moveTo>
                <a:cubicBezTo>
                  <a:pt x="0" y="5542"/>
                  <a:pt x="3497" y="1234"/>
                  <a:pt x="8235" y="0"/>
                </a:cubicBezTo>
                <a:moveTo>
                  <a:pt x="14118" y="21245"/>
                </a:moveTo>
                <a:cubicBezTo>
                  <a:pt x="13135" y="21532"/>
                  <a:pt x="12096" y="21687"/>
                  <a:pt x="11021" y="21687"/>
                </a:cubicBezTo>
                <a:cubicBezTo>
                  <a:pt x="4934" y="21687"/>
                  <a:pt x="0" y="16752"/>
                  <a:pt x="0" y="10666"/>
                </a:cubicBezTo>
              </a:path>
            </a:pathLst>
          </a:custGeom>
          <a:noFill/>
          <a:ln w="12700" cap="flat">
            <a:solidFill>
              <a:srgbClr val="66C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44800" y="244800"/>
            <a:ext cx="6408000" cy="979200"/>
          </a:xfrm>
        </p:spPr>
        <p:txBody>
          <a:bodyPr/>
          <a:lstStyle/>
          <a:p>
            <a:r>
              <a:rPr lang="fi-FI"/>
              <a:t>Click to edit Master title style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244800" y="1346400"/>
            <a:ext cx="6408000" cy="3308400"/>
          </a:xfrm>
        </p:spPr>
        <p:txBody>
          <a:bodyPr/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220935-E6B2-487F-B994-1C15FCD82A34}" type="datetime1">
              <a:rPr lang="fi-FI" smtClean="0"/>
              <a:t>4.2.2019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143512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Click to edit Master title style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244800" y="1346400"/>
            <a:ext cx="4266000" cy="3308400"/>
          </a:xfrm>
          <a:prstGeom prst="roundRect">
            <a:avLst>
              <a:gd name="adj" fmla="val 2440"/>
            </a:avLst>
          </a:prstGeom>
        </p:spPr>
        <p:txBody>
          <a:bodyPr vert="horz" lIns="108000" tIns="46800" rIns="108000" bIns="46800" rtlCol="0">
            <a:noAutofit/>
          </a:bodyPr>
          <a:lstStyle>
            <a:lvl1pPr>
              <a:defRPr lang="fi-FI" sz="1600" dirty="0" smtClean="0"/>
            </a:lvl1pPr>
            <a:lvl2pPr>
              <a:defRPr lang="fi-FI" sz="1600" dirty="0" smtClean="0"/>
            </a:lvl2pPr>
            <a:lvl3pPr>
              <a:defRPr lang="fi-FI" dirty="0" smtClean="0"/>
            </a:lvl3pPr>
            <a:lvl4pPr>
              <a:defRPr lang="fi-FI" dirty="0" smtClean="0"/>
            </a:lvl4pPr>
            <a:lvl5pPr>
              <a:defRPr lang="fi-FI" dirty="0"/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DD9C0F-D091-413B-BC2D-C5F3BF0BF998}" type="datetime1">
              <a:rPr lang="fi-FI" smtClean="0"/>
              <a:t>4.2.2019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Sisällön paikkamerkki 2"/>
          <p:cNvSpPr>
            <a:spLocks noGrp="1"/>
          </p:cNvSpPr>
          <p:nvPr>
            <p:ph sz="half" idx="13"/>
          </p:nvPr>
        </p:nvSpPr>
        <p:spPr>
          <a:xfrm>
            <a:off x="4633200" y="1346400"/>
            <a:ext cx="4266000" cy="3308400"/>
          </a:xfrm>
          <a:prstGeom prst="roundRect">
            <a:avLst>
              <a:gd name="adj" fmla="val 2440"/>
            </a:avLst>
          </a:prstGeom>
        </p:spPr>
        <p:txBody>
          <a:bodyPr vert="horz" lIns="108000" tIns="46800" rIns="108000" bIns="46800" rtlCol="0">
            <a:noAutofit/>
          </a:bodyPr>
          <a:lstStyle>
            <a:lvl1pPr>
              <a:defRPr lang="fi-FI" sz="1600" dirty="0" smtClean="0"/>
            </a:lvl1pPr>
            <a:lvl2pPr>
              <a:defRPr lang="fi-FI" sz="1600" dirty="0" smtClean="0"/>
            </a:lvl2pPr>
            <a:lvl3pPr>
              <a:defRPr lang="fi-FI" dirty="0" smtClean="0"/>
            </a:lvl3pPr>
            <a:lvl4pPr>
              <a:defRPr lang="fi-FI" dirty="0" smtClean="0"/>
            </a:lvl4pPr>
            <a:lvl5pPr>
              <a:defRPr lang="fi-FI" dirty="0"/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83119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44800" y="244800"/>
            <a:ext cx="8654400" cy="979200"/>
          </a:xfrm>
        </p:spPr>
        <p:txBody>
          <a:bodyPr/>
          <a:lstStyle/>
          <a:p>
            <a:r>
              <a:rPr lang="fi-FI"/>
              <a:t>Click to edit Master title style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EB1F9-DF42-4AAB-87D2-C6BCFA368ABD}" type="datetime1">
              <a:rPr lang="fi-FI" smtClean="0"/>
              <a:t>4.2.2019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Sisällön paikkamerkki 2"/>
          <p:cNvSpPr>
            <a:spLocks noGrp="1"/>
          </p:cNvSpPr>
          <p:nvPr>
            <p:ph sz="half" idx="13" hasCustomPrompt="1"/>
          </p:nvPr>
        </p:nvSpPr>
        <p:spPr>
          <a:xfrm>
            <a:off x="6094800" y="1346400"/>
            <a:ext cx="2804400" cy="3308400"/>
          </a:xfrm>
          <a:prstGeom prst="roundRect">
            <a:avLst>
              <a:gd name="adj" fmla="val 2591"/>
            </a:avLst>
          </a:prstGeom>
        </p:spPr>
        <p:txBody>
          <a:bodyPr>
            <a:noAutofit/>
          </a:bodyPr>
          <a:lstStyle>
            <a:lvl1pPr marL="285750" indent="-285750">
              <a:spcAft>
                <a:spcPts val="400"/>
              </a:spcAft>
              <a:buFont typeface="Arial"/>
              <a:buChar char="•"/>
              <a:defRPr sz="1600"/>
            </a:lvl1pPr>
            <a:lvl2pPr marL="742950" indent="-285750">
              <a:buFont typeface="Arial"/>
              <a:buChar char="•"/>
              <a:defRPr sz="1600"/>
            </a:lvl2pPr>
            <a:lvl3pPr marL="1200150" indent="-285750">
              <a:buFont typeface="Arial"/>
              <a:buChar char="•"/>
              <a:defRPr sz="1600"/>
            </a:lvl3pPr>
            <a:lvl4pPr marL="1657350" indent="-285750">
              <a:buFont typeface="Arial"/>
              <a:buChar char="•"/>
              <a:defRPr sz="1600"/>
            </a:lvl4pPr>
            <a:lvl5pPr marL="2114550" indent="-285750">
              <a:buFont typeface="Arial"/>
              <a:buChar char="•"/>
              <a:defRPr sz="1600"/>
            </a:lvl5pPr>
          </a:lstStyle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</p:txBody>
      </p:sp>
      <p:sp>
        <p:nvSpPr>
          <p:cNvPr id="13" name="Sisällön paikkamerkki 2"/>
          <p:cNvSpPr>
            <a:spLocks noGrp="1"/>
          </p:cNvSpPr>
          <p:nvPr>
            <p:ph sz="half" idx="14" hasCustomPrompt="1"/>
          </p:nvPr>
        </p:nvSpPr>
        <p:spPr>
          <a:xfrm>
            <a:off x="244800" y="1346400"/>
            <a:ext cx="2804400" cy="3308400"/>
          </a:xfrm>
          <a:prstGeom prst="roundRect">
            <a:avLst>
              <a:gd name="adj" fmla="val 2591"/>
            </a:avLst>
          </a:prstGeom>
        </p:spPr>
        <p:txBody>
          <a:bodyPr>
            <a:noAutofit/>
          </a:bodyPr>
          <a:lstStyle>
            <a:lvl1pPr marL="182563" marR="0" indent="-1825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66CD00"/>
              </a:buClr>
              <a:buSzTx/>
              <a:buFont typeface="Arial"/>
              <a:buChar char="•"/>
              <a:tabLst/>
              <a:defRPr sz="1600"/>
            </a:lvl1pPr>
            <a:lvl2pPr marL="742950" indent="-285750">
              <a:buFont typeface="Arial"/>
              <a:buChar char="•"/>
              <a:defRPr sz="1600"/>
            </a:lvl2pPr>
            <a:lvl3pPr marL="1200150" indent="-285750">
              <a:buFont typeface="Arial"/>
              <a:buChar char="•"/>
              <a:defRPr sz="1600"/>
            </a:lvl3pPr>
            <a:lvl4pPr marL="1657350" indent="-285750">
              <a:buFont typeface="Arial"/>
              <a:buChar char="•"/>
              <a:defRPr sz="1600"/>
            </a:lvl4pPr>
            <a:lvl5pPr marL="2114550" indent="-285750">
              <a:buFont typeface="Arial"/>
              <a:buChar char="•"/>
              <a:defRPr sz="1600"/>
            </a:lvl5pPr>
          </a:lstStyle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</p:txBody>
      </p:sp>
      <p:sp>
        <p:nvSpPr>
          <p:cNvPr id="14" name="Sisällön paikkamerkki 2"/>
          <p:cNvSpPr>
            <a:spLocks noGrp="1"/>
          </p:cNvSpPr>
          <p:nvPr>
            <p:ph sz="half" idx="15" hasCustomPrompt="1"/>
          </p:nvPr>
        </p:nvSpPr>
        <p:spPr>
          <a:xfrm>
            <a:off x="3169800" y="1346400"/>
            <a:ext cx="2804400" cy="3308400"/>
          </a:xfrm>
          <a:prstGeom prst="roundRect">
            <a:avLst>
              <a:gd name="adj" fmla="val 2591"/>
            </a:avLst>
          </a:prstGeom>
        </p:spPr>
        <p:txBody>
          <a:bodyPr>
            <a:noAutofit/>
          </a:bodyPr>
          <a:lstStyle>
            <a:lvl1pPr marL="285750" indent="-285750">
              <a:spcAft>
                <a:spcPts val="400"/>
              </a:spcAft>
              <a:buFont typeface="Arial"/>
              <a:buChar char="•"/>
              <a:defRPr sz="1600"/>
            </a:lvl1pPr>
            <a:lvl2pPr marL="742950" indent="-285750">
              <a:buFont typeface="Arial"/>
              <a:buChar char="•"/>
              <a:defRPr sz="1600"/>
            </a:lvl2pPr>
            <a:lvl3pPr marL="1200150" indent="-285750">
              <a:buFont typeface="Arial"/>
              <a:buChar char="•"/>
              <a:defRPr sz="1600"/>
            </a:lvl3pPr>
            <a:lvl4pPr marL="1657350" indent="-285750">
              <a:buFont typeface="Arial"/>
              <a:buChar char="•"/>
              <a:defRPr sz="1600"/>
            </a:lvl4pPr>
            <a:lvl5pPr marL="2114550" indent="-285750">
              <a:buFont typeface="Arial"/>
              <a:buChar char="•"/>
              <a:defRPr sz="1600"/>
            </a:lvl5pPr>
          </a:lstStyle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  <a:p>
            <a:pPr lvl="0"/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38397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244800" y="244800"/>
            <a:ext cx="8654400" cy="979200"/>
          </a:xfrm>
          <a:prstGeom prst="rect">
            <a:avLst/>
          </a:prstGeom>
        </p:spPr>
        <p:txBody>
          <a:bodyPr vert="horz" lIns="108000" tIns="46800" rIns="108000" bIns="46800" rtlCol="0" anchor="ctr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244800" y="1346400"/>
            <a:ext cx="8654400" cy="3308400"/>
          </a:xfrm>
          <a:prstGeom prst="rect">
            <a:avLst/>
          </a:prstGeom>
        </p:spPr>
        <p:txBody>
          <a:bodyPr vert="horz" lIns="108000" tIns="46800" rIns="108000" bIns="468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6357600" y="4770000"/>
            <a:ext cx="15192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685FD4-8874-4B07-B152-AB8448A2D802}" type="datetime1">
              <a:rPr lang="fi-FI" smtClean="0"/>
              <a:t>4.2.2019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3028950" y="4770000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244800" y="4770000"/>
            <a:ext cx="2134800" cy="274637"/>
          </a:xfrm>
          <a:prstGeom prst="rect">
            <a:avLst/>
          </a:prstGeom>
        </p:spPr>
        <p:txBody>
          <a:bodyPr vert="horz" lIns="108000" tIns="46800" rIns="108000" bIns="46800" rtlCol="0" anchor="ctr"/>
          <a:lstStyle>
            <a:lvl1pPr algn="l">
              <a:defRPr sz="1000">
                <a:solidFill>
                  <a:srgbClr val="001177"/>
                </a:solidFill>
              </a:defRPr>
            </a:lvl1pPr>
          </a:lstStyle>
          <a:p>
            <a:fld id="{E3C6B9E5-EB7A-41CB-AF8F-3F4ED4452908}" type="slidenum">
              <a:rPr lang="fi-FI" smtClean="0"/>
              <a:pPr/>
              <a:t>‹#›</a:t>
            </a:fld>
            <a:endParaRPr lang="fi-FI" dirty="0"/>
          </a:p>
        </p:txBody>
      </p:sp>
      <p:grpSp>
        <p:nvGrpSpPr>
          <p:cNvPr id="28" name="Ryhmä 27"/>
          <p:cNvGrpSpPr/>
          <p:nvPr/>
        </p:nvGrpSpPr>
        <p:grpSpPr bwMode="black">
          <a:xfrm>
            <a:off x="8034273" y="4831556"/>
            <a:ext cx="869375" cy="145200"/>
            <a:chOff x="1170790" y="2446391"/>
            <a:chExt cx="6636576" cy="1108419"/>
          </a:xfrm>
          <a:solidFill>
            <a:srgbClr val="001177"/>
          </a:solidFill>
        </p:grpSpPr>
        <p:sp>
          <p:nvSpPr>
            <p:cNvPr id="29" name="Freeform 5"/>
            <p:cNvSpPr>
              <a:spLocks/>
            </p:cNvSpPr>
            <p:nvPr userDrawn="1"/>
          </p:nvSpPr>
          <p:spPr bwMode="black">
            <a:xfrm>
              <a:off x="6555303" y="2446391"/>
              <a:ext cx="1252063" cy="1099843"/>
            </a:xfrm>
            <a:custGeom>
              <a:avLst/>
              <a:gdLst>
                <a:gd name="T0" fmla="*/ 1029 w 5148"/>
                <a:gd name="T1" fmla="*/ 2797 h 4505"/>
                <a:gd name="T2" fmla="*/ 1029 w 5148"/>
                <a:gd name="T3" fmla="*/ 2797 h 4505"/>
                <a:gd name="T4" fmla="*/ 1131 w 5148"/>
                <a:gd name="T5" fmla="*/ 2699 h 4505"/>
                <a:gd name="T6" fmla="*/ 3810 w 5148"/>
                <a:gd name="T7" fmla="*/ 2699 h 4505"/>
                <a:gd name="T8" fmla="*/ 4255 w 5148"/>
                <a:gd name="T9" fmla="*/ 2251 h 4505"/>
                <a:gd name="T10" fmla="*/ 3810 w 5148"/>
                <a:gd name="T11" fmla="*/ 1806 h 4505"/>
                <a:gd name="T12" fmla="*/ 1131 w 5148"/>
                <a:gd name="T13" fmla="*/ 1806 h 4505"/>
                <a:gd name="T14" fmla="*/ 1029 w 5148"/>
                <a:gd name="T15" fmla="*/ 1709 h 4505"/>
                <a:gd name="T16" fmla="*/ 1029 w 5148"/>
                <a:gd name="T17" fmla="*/ 1443 h 4505"/>
                <a:gd name="T18" fmla="*/ 1513 w 5148"/>
                <a:gd name="T19" fmla="*/ 960 h 4505"/>
                <a:gd name="T20" fmla="*/ 4664 w 5148"/>
                <a:gd name="T21" fmla="*/ 960 h 4505"/>
                <a:gd name="T22" fmla="*/ 5148 w 5148"/>
                <a:gd name="T23" fmla="*/ 480 h 4505"/>
                <a:gd name="T24" fmla="*/ 4664 w 5148"/>
                <a:gd name="T25" fmla="*/ 0 h 4505"/>
                <a:gd name="T26" fmla="*/ 1322 w 5148"/>
                <a:gd name="T27" fmla="*/ 0 h 4505"/>
                <a:gd name="T28" fmla="*/ 0 w 5148"/>
                <a:gd name="T29" fmla="*/ 1322 h 4505"/>
                <a:gd name="T30" fmla="*/ 0 w 5148"/>
                <a:gd name="T31" fmla="*/ 3187 h 4505"/>
                <a:gd name="T32" fmla="*/ 1322 w 5148"/>
                <a:gd name="T33" fmla="*/ 4505 h 4505"/>
                <a:gd name="T34" fmla="*/ 4664 w 5148"/>
                <a:gd name="T35" fmla="*/ 4505 h 4505"/>
                <a:gd name="T36" fmla="*/ 5148 w 5148"/>
                <a:gd name="T37" fmla="*/ 4025 h 4505"/>
                <a:gd name="T38" fmla="*/ 4664 w 5148"/>
                <a:gd name="T39" fmla="*/ 3546 h 4505"/>
                <a:gd name="T40" fmla="*/ 1513 w 5148"/>
                <a:gd name="T41" fmla="*/ 3546 h 4505"/>
                <a:gd name="T42" fmla="*/ 1029 w 5148"/>
                <a:gd name="T43" fmla="*/ 3062 h 4505"/>
                <a:gd name="T44" fmla="*/ 1029 w 5148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8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31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6" y="1806"/>
                    <a:pt x="3810" y="1806"/>
                  </a:cubicBezTo>
                  <a:lnTo>
                    <a:pt x="1131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4"/>
                    <a:pt x="1244" y="960"/>
                    <a:pt x="1513" y="960"/>
                  </a:cubicBezTo>
                  <a:lnTo>
                    <a:pt x="4664" y="960"/>
                  </a:lnTo>
                  <a:cubicBezTo>
                    <a:pt x="4929" y="960"/>
                    <a:pt x="5148" y="745"/>
                    <a:pt x="5148" y="480"/>
                  </a:cubicBezTo>
                  <a:cubicBezTo>
                    <a:pt x="5148" y="215"/>
                    <a:pt x="4929" y="0"/>
                    <a:pt x="4664" y="0"/>
                  </a:cubicBezTo>
                  <a:lnTo>
                    <a:pt x="1322" y="0"/>
                  </a:lnTo>
                  <a:cubicBezTo>
                    <a:pt x="593" y="4"/>
                    <a:pt x="0" y="593"/>
                    <a:pt x="0" y="1322"/>
                  </a:cubicBezTo>
                  <a:lnTo>
                    <a:pt x="0" y="3187"/>
                  </a:lnTo>
                  <a:cubicBezTo>
                    <a:pt x="0" y="3912"/>
                    <a:pt x="593" y="4501"/>
                    <a:pt x="1322" y="4505"/>
                  </a:cubicBezTo>
                  <a:lnTo>
                    <a:pt x="4664" y="4505"/>
                  </a:lnTo>
                  <a:cubicBezTo>
                    <a:pt x="4929" y="4505"/>
                    <a:pt x="5148" y="4291"/>
                    <a:pt x="5148" y="4025"/>
                  </a:cubicBezTo>
                  <a:cubicBezTo>
                    <a:pt x="5148" y="3760"/>
                    <a:pt x="4929" y="3546"/>
                    <a:pt x="4664" y="3546"/>
                  </a:cubicBezTo>
                  <a:lnTo>
                    <a:pt x="1513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0" name="Freeform 6"/>
            <p:cNvSpPr>
              <a:spLocks/>
            </p:cNvSpPr>
            <p:nvPr userDrawn="1"/>
          </p:nvSpPr>
          <p:spPr bwMode="black">
            <a:xfrm>
              <a:off x="3875374" y="2446391"/>
              <a:ext cx="1275646" cy="1099843"/>
            </a:xfrm>
            <a:custGeom>
              <a:avLst/>
              <a:gdLst>
                <a:gd name="T0" fmla="*/ 4158 w 5245"/>
                <a:gd name="T1" fmla="*/ 3304 h 4505"/>
                <a:gd name="T2" fmla="*/ 4158 w 5245"/>
                <a:gd name="T3" fmla="*/ 3304 h 4505"/>
                <a:gd name="T4" fmla="*/ 4240 w 5245"/>
                <a:gd name="T5" fmla="*/ 3421 h 4505"/>
                <a:gd name="T6" fmla="*/ 4115 w 5245"/>
                <a:gd name="T7" fmla="*/ 3546 h 4505"/>
                <a:gd name="T8" fmla="*/ 671 w 5245"/>
                <a:gd name="T9" fmla="*/ 3546 h 4505"/>
                <a:gd name="T10" fmla="*/ 187 w 5245"/>
                <a:gd name="T11" fmla="*/ 4025 h 4505"/>
                <a:gd name="T12" fmla="*/ 671 w 5245"/>
                <a:gd name="T13" fmla="*/ 4505 h 4505"/>
                <a:gd name="T14" fmla="*/ 4169 w 5245"/>
                <a:gd name="T15" fmla="*/ 4505 h 4505"/>
                <a:gd name="T16" fmla="*/ 5245 w 5245"/>
                <a:gd name="T17" fmla="*/ 3428 h 4505"/>
                <a:gd name="T18" fmla="*/ 4540 w 5245"/>
                <a:gd name="T19" fmla="*/ 2418 h 4505"/>
                <a:gd name="T20" fmla="*/ 1092 w 5245"/>
                <a:gd name="T21" fmla="*/ 1201 h 4505"/>
                <a:gd name="T22" fmla="*/ 1010 w 5245"/>
                <a:gd name="T23" fmla="*/ 1084 h 4505"/>
                <a:gd name="T24" fmla="*/ 1131 w 5245"/>
                <a:gd name="T25" fmla="*/ 960 h 4505"/>
                <a:gd name="T26" fmla="*/ 4575 w 5245"/>
                <a:gd name="T27" fmla="*/ 960 h 4505"/>
                <a:gd name="T28" fmla="*/ 5054 w 5245"/>
                <a:gd name="T29" fmla="*/ 480 h 4505"/>
                <a:gd name="T30" fmla="*/ 4575 w 5245"/>
                <a:gd name="T31" fmla="*/ 0 h 4505"/>
                <a:gd name="T32" fmla="*/ 1072 w 5245"/>
                <a:gd name="T33" fmla="*/ 0 h 4505"/>
                <a:gd name="T34" fmla="*/ 0 w 5245"/>
                <a:gd name="T35" fmla="*/ 1077 h 4505"/>
                <a:gd name="T36" fmla="*/ 667 w 5245"/>
                <a:gd name="T37" fmla="*/ 2071 h 4505"/>
                <a:gd name="T38" fmla="*/ 4158 w 5245"/>
                <a:gd name="T39" fmla="*/ 3304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45" h="4505">
                  <a:moveTo>
                    <a:pt x="4158" y="3304"/>
                  </a:moveTo>
                  <a:lnTo>
                    <a:pt x="4158" y="3304"/>
                  </a:lnTo>
                  <a:cubicBezTo>
                    <a:pt x="4201" y="3323"/>
                    <a:pt x="4240" y="3366"/>
                    <a:pt x="4240" y="3421"/>
                  </a:cubicBezTo>
                  <a:cubicBezTo>
                    <a:pt x="4240" y="3487"/>
                    <a:pt x="4181" y="3546"/>
                    <a:pt x="4115" y="3546"/>
                  </a:cubicBezTo>
                  <a:lnTo>
                    <a:pt x="671" y="3546"/>
                  </a:lnTo>
                  <a:cubicBezTo>
                    <a:pt x="402" y="3546"/>
                    <a:pt x="187" y="3760"/>
                    <a:pt x="187" y="4025"/>
                  </a:cubicBezTo>
                  <a:cubicBezTo>
                    <a:pt x="187" y="4291"/>
                    <a:pt x="406" y="4505"/>
                    <a:pt x="671" y="4505"/>
                  </a:cubicBezTo>
                  <a:lnTo>
                    <a:pt x="4169" y="4505"/>
                  </a:lnTo>
                  <a:cubicBezTo>
                    <a:pt x="4758" y="4505"/>
                    <a:pt x="5245" y="4021"/>
                    <a:pt x="5245" y="3428"/>
                  </a:cubicBezTo>
                  <a:cubicBezTo>
                    <a:pt x="5245" y="2964"/>
                    <a:pt x="4949" y="2570"/>
                    <a:pt x="4540" y="2418"/>
                  </a:cubicBezTo>
                  <a:lnTo>
                    <a:pt x="1092" y="1201"/>
                  </a:lnTo>
                  <a:cubicBezTo>
                    <a:pt x="1045" y="1186"/>
                    <a:pt x="1010" y="1139"/>
                    <a:pt x="1010" y="1084"/>
                  </a:cubicBezTo>
                  <a:cubicBezTo>
                    <a:pt x="1010" y="1018"/>
                    <a:pt x="1061" y="960"/>
                    <a:pt x="1131" y="960"/>
                  </a:cubicBezTo>
                  <a:lnTo>
                    <a:pt x="4575" y="960"/>
                  </a:lnTo>
                  <a:cubicBezTo>
                    <a:pt x="4840" y="960"/>
                    <a:pt x="5054" y="745"/>
                    <a:pt x="5054" y="480"/>
                  </a:cubicBezTo>
                  <a:cubicBezTo>
                    <a:pt x="5054" y="215"/>
                    <a:pt x="4836" y="0"/>
                    <a:pt x="4575" y="0"/>
                  </a:cubicBezTo>
                  <a:lnTo>
                    <a:pt x="1072" y="0"/>
                  </a:lnTo>
                  <a:cubicBezTo>
                    <a:pt x="476" y="0"/>
                    <a:pt x="0" y="484"/>
                    <a:pt x="0" y="1077"/>
                  </a:cubicBezTo>
                  <a:cubicBezTo>
                    <a:pt x="0" y="1525"/>
                    <a:pt x="277" y="1911"/>
                    <a:pt x="667" y="2071"/>
                  </a:cubicBezTo>
                  <a:lnTo>
                    <a:pt x="4158" y="3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1" name="Freeform 7"/>
            <p:cNvSpPr>
              <a:spLocks/>
            </p:cNvSpPr>
            <p:nvPr userDrawn="1"/>
          </p:nvSpPr>
          <p:spPr bwMode="black">
            <a:xfrm>
              <a:off x="5196043" y="2446391"/>
              <a:ext cx="1321741" cy="1108419"/>
            </a:xfrm>
            <a:custGeom>
              <a:avLst/>
              <a:gdLst>
                <a:gd name="T0" fmla="*/ 2196 w 5433"/>
                <a:gd name="T1" fmla="*/ 4025 h 4540"/>
                <a:gd name="T2" fmla="*/ 2196 w 5433"/>
                <a:gd name="T3" fmla="*/ 4025 h 4540"/>
                <a:gd name="T4" fmla="*/ 2710 w 5433"/>
                <a:gd name="T5" fmla="*/ 4540 h 4540"/>
                <a:gd name="T6" fmla="*/ 3225 w 5433"/>
                <a:gd name="T7" fmla="*/ 4025 h 4540"/>
                <a:gd name="T8" fmla="*/ 3225 w 5433"/>
                <a:gd name="T9" fmla="*/ 1061 h 4540"/>
                <a:gd name="T10" fmla="*/ 3327 w 5433"/>
                <a:gd name="T11" fmla="*/ 960 h 4540"/>
                <a:gd name="T12" fmla="*/ 4953 w 5433"/>
                <a:gd name="T13" fmla="*/ 960 h 4540"/>
                <a:gd name="T14" fmla="*/ 5433 w 5433"/>
                <a:gd name="T15" fmla="*/ 480 h 4540"/>
                <a:gd name="T16" fmla="*/ 4953 w 5433"/>
                <a:gd name="T17" fmla="*/ 0 h 4540"/>
                <a:gd name="T18" fmla="*/ 479 w 5433"/>
                <a:gd name="T19" fmla="*/ 0 h 4540"/>
                <a:gd name="T20" fmla="*/ 0 w 5433"/>
                <a:gd name="T21" fmla="*/ 480 h 4540"/>
                <a:gd name="T22" fmla="*/ 479 w 5433"/>
                <a:gd name="T23" fmla="*/ 960 h 4540"/>
                <a:gd name="T24" fmla="*/ 2098 w 5433"/>
                <a:gd name="T25" fmla="*/ 960 h 4540"/>
                <a:gd name="T26" fmla="*/ 2196 w 5433"/>
                <a:gd name="T27" fmla="*/ 1061 h 4540"/>
                <a:gd name="T28" fmla="*/ 2196 w 5433"/>
                <a:gd name="T29" fmla="*/ 4025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33" h="4540">
                  <a:moveTo>
                    <a:pt x="2196" y="4025"/>
                  </a:moveTo>
                  <a:lnTo>
                    <a:pt x="2196" y="4025"/>
                  </a:lnTo>
                  <a:cubicBezTo>
                    <a:pt x="2192" y="4310"/>
                    <a:pt x="2426" y="4540"/>
                    <a:pt x="2710" y="4540"/>
                  </a:cubicBezTo>
                  <a:cubicBezTo>
                    <a:pt x="2995" y="4540"/>
                    <a:pt x="3225" y="4310"/>
                    <a:pt x="3225" y="4025"/>
                  </a:cubicBezTo>
                  <a:lnTo>
                    <a:pt x="3225" y="1061"/>
                  </a:lnTo>
                  <a:cubicBezTo>
                    <a:pt x="3225" y="1003"/>
                    <a:pt x="3272" y="960"/>
                    <a:pt x="3327" y="960"/>
                  </a:cubicBezTo>
                  <a:lnTo>
                    <a:pt x="4953" y="960"/>
                  </a:lnTo>
                  <a:cubicBezTo>
                    <a:pt x="5218" y="960"/>
                    <a:pt x="5433" y="745"/>
                    <a:pt x="5433" y="480"/>
                  </a:cubicBezTo>
                  <a:cubicBezTo>
                    <a:pt x="5433" y="215"/>
                    <a:pt x="5214" y="0"/>
                    <a:pt x="4953" y="0"/>
                  </a:cubicBezTo>
                  <a:lnTo>
                    <a:pt x="479" y="0"/>
                  </a:lnTo>
                  <a:cubicBezTo>
                    <a:pt x="214" y="0"/>
                    <a:pt x="0" y="215"/>
                    <a:pt x="0" y="480"/>
                  </a:cubicBezTo>
                  <a:cubicBezTo>
                    <a:pt x="0" y="745"/>
                    <a:pt x="214" y="960"/>
                    <a:pt x="479" y="960"/>
                  </a:cubicBezTo>
                  <a:lnTo>
                    <a:pt x="2098" y="960"/>
                  </a:lnTo>
                  <a:cubicBezTo>
                    <a:pt x="2153" y="960"/>
                    <a:pt x="2196" y="1003"/>
                    <a:pt x="2196" y="1061"/>
                  </a:cubicBezTo>
                  <a:lnTo>
                    <a:pt x="2196" y="40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2" name="Freeform 8"/>
            <p:cNvSpPr>
              <a:spLocks/>
            </p:cNvSpPr>
            <p:nvPr userDrawn="1"/>
          </p:nvSpPr>
          <p:spPr bwMode="black">
            <a:xfrm>
              <a:off x="2550417" y="2446391"/>
              <a:ext cx="1250991" cy="1099843"/>
            </a:xfrm>
            <a:custGeom>
              <a:avLst/>
              <a:gdLst>
                <a:gd name="T0" fmla="*/ 1029 w 5144"/>
                <a:gd name="T1" fmla="*/ 2797 h 4505"/>
                <a:gd name="T2" fmla="*/ 1029 w 5144"/>
                <a:gd name="T3" fmla="*/ 2797 h 4505"/>
                <a:gd name="T4" fmla="*/ 1127 w 5144"/>
                <a:gd name="T5" fmla="*/ 2699 h 4505"/>
                <a:gd name="T6" fmla="*/ 3810 w 5144"/>
                <a:gd name="T7" fmla="*/ 2699 h 4505"/>
                <a:gd name="T8" fmla="*/ 4255 w 5144"/>
                <a:gd name="T9" fmla="*/ 2251 h 4505"/>
                <a:gd name="T10" fmla="*/ 3810 w 5144"/>
                <a:gd name="T11" fmla="*/ 1806 h 4505"/>
                <a:gd name="T12" fmla="*/ 1127 w 5144"/>
                <a:gd name="T13" fmla="*/ 1806 h 4505"/>
                <a:gd name="T14" fmla="*/ 1029 w 5144"/>
                <a:gd name="T15" fmla="*/ 1709 h 4505"/>
                <a:gd name="T16" fmla="*/ 1029 w 5144"/>
                <a:gd name="T17" fmla="*/ 1443 h 4505"/>
                <a:gd name="T18" fmla="*/ 1509 w 5144"/>
                <a:gd name="T19" fmla="*/ 960 h 4505"/>
                <a:gd name="T20" fmla="*/ 4664 w 5144"/>
                <a:gd name="T21" fmla="*/ 960 h 4505"/>
                <a:gd name="T22" fmla="*/ 5144 w 5144"/>
                <a:gd name="T23" fmla="*/ 480 h 4505"/>
                <a:gd name="T24" fmla="*/ 4664 w 5144"/>
                <a:gd name="T25" fmla="*/ 0 h 4505"/>
                <a:gd name="T26" fmla="*/ 1318 w 5144"/>
                <a:gd name="T27" fmla="*/ 0 h 4505"/>
                <a:gd name="T28" fmla="*/ 0 w 5144"/>
                <a:gd name="T29" fmla="*/ 1318 h 4505"/>
                <a:gd name="T30" fmla="*/ 0 w 5144"/>
                <a:gd name="T31" fmla="*/ 3187 h 4505"/>
                <a:gd name="T32" fmla="*/ 1318 w 5144"/>
                <a:gd name="T33" fmla="*/ 4505 h 4505"/>
                <a:gd name="T34" fmla="*/ 4664 w 5144"/>
                <a:gd name="T35" fmla="*/ 4505 h 4505"/>
                <a:gd name="T36" fmla="*/ 5144 w 5144"/>
                <a:gd name="T37" fmla="*/ 4025 h 4505"/>
                <a:gd name="T38" fmla="*/ 4664 w 5144"/>
                <a:gd name="T39" fmla="*/ 3546 h 4505"/>
                <a:gd name="T40" fmla="*/ 1509 w 5144"/>
                <a:gd name="T41" fmla="*/ 3546 h 4505"/>
                <a:gd name="T42" fmla="*/ 1029 w 5144"/>
                <a:gd name="T43" fmla="*/ 3062 h 4505"/>
                <a:gd name="T44" fmla="*/ 1029 w 5144"/>
                <a:gd name="T45" fmla="*/ 2797 h 4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44" h="4505">
                  <a:moveTo>
                    <a:pt x="1029" y="2797"/>
                  </a:moveTo>
                  <a:lnTo>
                    <a:pt x="1029" y="2797"/>
                  </a:lnTo>
                  <a:cubicBezTo>
                    <a:pt x="1029" y="2742"/>
                    <a:pt x="1072" y="2699"/>
                    <a:pt x="1127" y="2699"/>
                  </a:cubicBezTo>
                  <a:lnTo>
                    <a:pt x="3810" y="2699"/>
                  </a:lnTo>
                  <a:cubicBezTo>
                    <a:pt x="4056" y="2699"/>
                    <a:pt x="4255" y="2500"/>
                    <a:pt x="4255" y="2251"/>
                  </a:cubicBezTo>
                  <a:cubicBezTo>
                    <a:pt x="4255" y="2005"/>
                    <a:pt x="4052" y="1806"/>
                    <a:pt x="3810" y="1806"/>
                  </a:cubicBezTo>
                  <a:lnTo>
                    <a:pt x="1127" y="1806"/>
                  </a:lnTo>
                  <a:cubicBezTo>
                    <a:pt x="1072" y="1806"/>
                    <a:pt x="1029" y="1763"/>
                    <a:pt x="1029" y="1709"/>
                  </a:cubicBezTo>
                  <a:lnTo>
                    <a:pt x="1029" y="1443"/>
                  </a:lnTo>
                  <a:cubicBezTo>
                    <a:pt x="1029" y="1178"/>
                    <a:pt x="1244" y="960"/>
                    <a:pt x="1509" y="960"/>
                  </a:cubicBezTo>
                  <a:lnTo>
                    <a:pt x="4664" y="960"/>
                  </a:lnTo>
                  <a:cubicBezTo>
                    <a:pt x="4929" y="960"/>
                    <a:pt x="5144" y="745"/>
                    <a:pt x="5144" y="480"/>
                  </a:cubicBezTo>
                  <a:cubicBezTo>
                    <a:pt x="5144" y="215"/>
                    <a:pt x="4929" y="0"/>
                    <a:pt x="4664" y="0"/>
                  </a:cubicBezTo>
                  <a:lnTo>
                    <a:pt x="1318" y="0"/>
                  </a:lnTo>
                  <a:cubicBezTo>
                    <a:pt x="588" y="4"/>
                    <a:pt x="0" y="593"/>
                    <a:pt x="0" y="1318"/>
                  </a:cubicBezTo>
                  <a:lnTo>
                    <a:pt x="0" y="3187"/>
                  </a:lnTo>
                  <a:cubicBezTo>
                    <a:pt x="0" y="3916"/>
                    <a:pt x="588" y="4501"/>
                    <a:pt x="1318" y="4505"/>
                  </a:cubicBezTo>
                  <a:lnTo>
                    <a:pt x="4664" y="4505"/>
                  </a:lnTo>
                  <a:cubicBezTo>
                    <a:pt x="4929" y="4505"/>
                    <a:pt x="5144" y="4291"/>
                    <a:pt x="5144" y="4025"/>
                  </a:cubicBezTo>
                  <a:cubicBezTo>
                    <a:pt x="5144" y="3760"/>
                    <a:pt x="4929" y="3546"/>
                    <a:pt x="4664" y="3546"/>
                  </a:cubicBezTo>
                  <a:lnTo>
                    <a:pt x="1509" y="3546"/>
                  </a:lnTo>
                  <a:cubicBezTo>
                    <a:pt x="1244" y="3546"/>
                    <a:pt x="1029" y="3327"/>
                    <a:pt x="1029" y="3062"/>
                  </a:cubicBezTo>
                  <a:lnTo>
                    <a:pt x="1029" y="2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3" name="Freeform 9"/>
            <p:cNvSpPr>
              <a:spLocks/>
            </p:cNvSpPr>
            <p:nvPr userDrawn="1"/>
          </p:nvSpPr>
          <p:spPr bwMode="black">
            <a:xfrm>
              <a:off x="1170790" y="2446391"/>
              <a:ext cx="1253135" cy="1108419"/>
            </a:xfrm>
            <a:custGeom>
              <a:avLst/>
              <a:gdLst>
                <a:gd name="T0" fmla="*/ 98 w 5152"/>
                <a:gd name="T1" fmla="*/ 0 h 4540"/>
                <a:gd name="T2" fmla="*/ 3834 w 5152"/>
                <a:gd name="T3" fmla="*/ 0 h 4540"/>
                <a:gd name="T4" fmla="*/ 5152 w 5152"/>
                <a:gd name="T5" fmla="*/ 1318 h 4540"/>
                <a:gd name="T6" fmla="*/ 5152 w 5152"/>
                <a:gd name="T7" fmla="*/ 4025 h 4540"/>
                <a:gd name="T8" fmla="*/ 4637 w 5152"/>
                <a:gd name="T9" fmla="*/ 4540 h 4540"/>
                <a:gd name="T10" fmla="*/ 4122 w 5152"/>
                <a:gd name="T11" fmla="*/ 4025 h 4540"/>
                <a:gd name="T12" fmla="*/ 4122 w 5152"/>
                <a:gd name="T13" fmla="*/ 1443 h 4540"/>
                <a:gd name="T14" fmla="*/ 3643 w 5152"/>
                <a:gd name="T15" fmla="*/ 960 h 4540"/>
                <a:gd name="T16" fmla="*/ 1131 w 5152"/>
                <a:gd name="T17" fmla="*/ 960 h 4540"/>
                <a:gd name="T18" fmla="*/ 1034 w 5152"/>
                <a:gd name="T19" fmla="*/ 1061 h 4540"/>
                <a:gd name="T20" fmla="*/ 1034 w 5152"/>
                <a:gd name="T21" fmla="*/ 4025 h 4540"/>
                <a:gd name="T22" fmla="*/ 515 w 5152"/>
                <a:gd name="T23" fmla="*/ 4540 h 4540"/>
                <a:gd name="T24" fmla="*/ 0 w 5152"/>
                <a:gd name="T25" fmla="*/ 4025 h 4540"/>
                <a:gd name="T26" fmla="*/ 0 w 5152"/>
                <a:gd name="T27" fmla="*/ 98 h 4540"/>
                <a:gd name="T28" fmla="*/ 98 w 5152"/>
                <a:gd name="T29" fmla="*/ 0 h 4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2" h="4540">
                  <a:moveTo>
                    <a:pt x="98" y="0"/>
                  </a:moveTo>
                  <a:lnTo>
                    <a:pt x="3834" y="0"/>
                  </a:lnTo>
                  <a:cubicBezTo>
                    <a:pt x="4563" y="0"/>
                    <a:pt x="5152" y="593"/>
                    <a:pt x="5152" y="1318"/>
                  </a:cubicBezTo>
                  <a:lnTo>
                    <a:pt x="5152" y="4025"/>
                  </a:lnTo>
                  <a:cubicBezTo>
                    <a:pt x="5152" y="4310"/>
                    <a:pt x="4922" y="4540"/>
                    <a:pt x="4637" y="4540"/>
                  </a:cubicBezTo>
                  <a:cubicBezTo>
                    <a:pt x="4353" y="4540"/>
                    <a:pt x="4119" y="4310"/>
                    <a:pt x="4122" y="4025"/>
                  </a:cubicBezTo>
                  <a:lnTo>
                    <a:pt x="4122" y="1443"/>
                  </a:lnTo>
                  <a:cubicBezTo>
                    <a:pt x="4119" y="1178"/>
                    <a:pt x="3908" y="960"/>
                    <a:pt x="3643" y="960"/>
                  </a:cubicBezTo>
                  <a:lnTo>
                    <a:pt x="1131" y="960"/>
                  </a:lnTo>
                  <a:cubicBezTo>
                    <a:pt x="1077" y="960"/>
                    <a:pt x="1030" y="1006"/>
                    <a:pt x="1034" y="1061"/>
                  </a:cubicBezTo>
                  <a:lnTo>
                    <a:pt x="1034" y="4025"/>
                  </a:lnTo>
                  <a:cubicBezTo>
                    <a:pt x="1034" y="4310"/>
                    <a:pt x="800" y="4540"/>
                    <a:pt x="515" y="4540"/>
                  </a:cubicBezTo>
                  <a:cubicBezTo>
                    <a:pt x="230" y="4540"/>
                    <a:pt x="0" y="4310"/>
                    <a:pt x="0" y="4025"/>
                  </a:cubicBezTo>
                  <a:lnTo>
                    <a:pt x="0" y="98"/>
                  </a:lnTo>
                  <a:cubicBezTo>
                    <a:pt x="0" y="43"/>
                    <a:pt x="47" y="0"/>
                    <a:pt x="9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661792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98" r:id="rId2"/>
    <p:sldLayoutId id="2147483781" r:id="rId3"/>
    <p:sldLayoutId id="2147483823" r:id="rId4"/>
    <p:sldLayoutId id="2147483793" r:id="rId5"/>
    <p:sldLayoutId id="2147483821" r:id="rId6"/>
    <p:sldLayoutId id="2147483822" r:id="rId7"/>
    <p:sldLayoutId id="2147483783" r:id="rId8"/>
    <p:sldLayoutId id="2147483825" r:id="rId9"/>
    <p:sldLayoutId id="2147483791" r:id="rId10"/>
    <p:sldLayoutId id="2147483792" r:id="rId11"/>
    <p:sldLayoutId id="2147483785" r:id="rId12"/>
    <p:sldLayoutId id="2147483786" r:id="rId13"/>
    <p:sldLayoutId id="2147483795" r:id="rId14"/>
    <p:sldLayoutId id="2147483796" r:id="rId15"/>
    <p:sldLayoutId id="2147483797" r:id="rId16"/>
    <p:sldLayoutId id="2147483807" r:id="rId17"/>
    <p:sldLayoutId id="2147483815" r:id="rId18"/>
    <p:sldLayoutId id="2147483808" r:id="rId19"/>
    <p:sldLayoutId id="2147483816" r:id="rId20"/>
    <p:sldLayoutId id="2147483809" r:id="rId21"/>
    <p:sldLayoutId id="2147483817" r:id="rId22"/>
    <p:sldLayoutId id="2147483810" r:id="rId23"/>
    <p:sldLayoutId id="2147483818" r:id="rId24"/>
    <p:sldLayoutId id="2147483799" r:id="rId25"/>
    <p:sldLayoutId id="2147483819" r:id="rId26"/>
    <p:sldLayoutId id="2147483820" r:id="rId27"/>
    <p:sldLayoutId id="2147483814" r:id="rId28"/>
    <p:sldLayoutId id="2147483812" r:id="rId29"/>
    <p:sldLayoutId id="2147483813" r:id="rId30"/>
    <p:sldLayoutId id="2147483826" r:id="rId31"/>
    <p:sldLayoutId id="2147483831" r:id="rId32"/>
    <p:sldLayoutId id="2147483832" r:id="rId33"/>
    <p:sldLayoutId id="2147483833" r:id="rId34"/>
    <p:sldLayoutId id="2147483834" r:id="rId35"/>
    <p:sldLayoutId id="2147483836" r:id="rId36"/>
    <p:sldLayoutId id="2147483837" r:id="rId3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buClr>
          <a:srgbClr val="66CD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0"/>
        </a:spcBef>
        <a:buClr>
          <a:srgbClr val="66CD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0"/>
        </a:spcBef>
        <a:buClr>
          <a:srgbClr val="66CD00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0"/>
        </a:spcBef>
        <a:buClr>
          <a:srgbClr val="66CD00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0"/>
        </a:spcBef>
        <a:buClr>
          <a:srgbClr val="66CD00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//upload.wikimedia.org/wikipedia/commons/4/4f/Naphthalene-2D-Skeletal.svg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2.png"/><Relationship Id="rId5" Type="http://schemas.openxmlformats.org/officeDocument/2006/relationships/hyperlink" Target="//upload.wikimedia.org/wikipedia/commons/a/a5/Linear_alkylbenzene.png" TargetMode="External"/><Relationship Id="rId4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3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7.jpg"/><Relationship Id="rId5" Type="http://schemas.openxmlformats.org/officeDocument/2006/relationships/image" Target="../media/image26.jpg"/><Relationship Id="rId4" Type="http://schemas.openxmlformats.org/officeDocument/2006/relationships/image" Target="../media/image25.jp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Relationship Id="rId4" Type="http://schemas.openxmlformats.org/officeDocument/2006/relationships/hyperlink" Target="https://www.youtube.com/watch?v=Ovkgs-Qll6Y&amp;feature=youtu.be" TargetMode="Externa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 smtClean="0"/>
              <a:t>Patentit</a:t>
            </a:r>
            <a:r>
              <a:rPr lang="en-US" dirty="0" smtClean="0"/>
              <a:t> ja </a:t>
            </a:r>
            <a:r>
              <a:rPr lang="en-US" dirty="0" err="1" smtClean="0"/>
              <a:t>keksinnö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tuotekehityksen</a:t>
            </a:r>
            <a:r>
              <a:rPr lang="en-US" dirty="0" smtClean="0"/>
              <a:t> </a:t>
            </a:r>
            <a:r>
              <a:rPr lang="en-US" dirty="0" err="1" smtClean="0"/>
              <a:t>kannalt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i-FI" dirty="0" smtClean="0"/>
              <a:t>Olli </a:t>
            </a:r>
            <a:r>
              <a:rPr lang="fi-FI" dirty="0" err="1" smtClean="0"/>
              <a:t>Sääksvuori</a:t>
            </a:r>
            <a:r>
              <a:rPr lang="fi-FI" smtClean="0"/>
              <a:t> 30.1.2019</a:t>
            </a:r>
            <a:endParaRPr lang="fi-FI" dirty="0"/>
          </a:p>
        </p:txBody>
      </p:sp>
      <p:sp>
        <p:nvSpPr>
          <p:cNvPr id="6" name="Text Placeholder 4"/>
          <p:cNvSpPr>
            <a:spLocks noGrp="1"/>
          </p:cNvSpPr>
          <p:nvPr>
            <p:ph type="subTitle" idx="1"/>
          </p:nvPr>
        </p:nvSpPr>
        <p:spPr>
          <a:xfrm>
            <a:off x="727200" y="3009600"/>
            <a:ext cx="3916800" cy="784800"/>
          </a:xfrm>
        </p:spPr>
        <p:txBody>
          <a:bodyPr/>
          <a:lstStyle/>
          <a:p>
            <a:r>
              <a:rPr lang="fi-FI" dirty="0" smtClean="0"/>
              <a:t>Neste - Ainoa suunta on eteenpäi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09865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>
                <a:solidFill>
                  <a:srgbClr val="001177"/>
                </a:solidFill>
              </a:rPr>
              <a:t>Nesteen</a:t>
            </a:r>
            <a:r>
              <a:rPr lang="en-US" dirty="0" smtClean="0">
                <a:solidFill>
                  <a:srgbClr val="001177"/>
                </a:solidFill>
              </a:rPr>
              <a:t> </a:t>
            </a:r>
            <a:r>
              <a:rPr lang="en-US" dirty="0" err="1" smtClean="0">
                <a:solidFill>
                  <a:srgbClr val="001177"/>
                </a:solidFill>
              </a:rPr>
              <a:t>uudistusten</a:t>
            </a:r>
            <a:r>
              <a:rPr lang="en-US" dirty="0" smtClean="0">
                <a:solidFill>
                  <a:srgbClr val="001177"/>
                </a:solidFill>
              </a:rPr>
              <a:t> </a:t>
            </a:r>
            <a:r>
              <a:rPr lang="en-US" dirty="0" err="1" smtClean="0">
                <a:solidFill>
                  <a:srgbClr val="001177"/>
                </a:solidFill>
              </a:rPr>
              <a:t>myötä</a:t>
            </a:r>
            <a:r>
              <a:rPr lang="en-US" dirty="0" smtClean="0">
                <a:solidFill>
                  <a:srgbClr val="001177"/>
                </a:solidFill>
              </a:rPr>
              <a:t> </a:t>
            </a:r>
            <a:r>
              <a:rPr lang="en-US" dirty="0" err="1" smtClean="0">
                <a:solidFill>
                  <a:srgbClr val="001177"/>
                </a:solidFill>
              </a:rPr>
              <a:t>tuottavia</a:t>
            </a:r>
            <a:r>
              <a:rPr lang="en-US" dirty="0" smtClean="0">
                <a:solidFill>
                  <a:srgbClr val="001177"/>
                </a:solidFill>
              </a:rPr>
              <a:t> </a:t>
            </a:r>
            <a:r>
              <a:rPr lang="en-US" dirty="0" err="1" smtClean="0">
                <a:solidFill>
                  <a:srgbClr val="001177"/>
                </a:solidFill>
              </a:rPr>
              <a:t>muutoksia</a:t>
            </a:r>
            <a:endParaRPr lang="fi-FI" dirty="0">
              <a:solidFill>
                <a:srgbClr val="001177"/>
              </a:solidFill>
              <a:highlight>
                <a:srgbClr val="FFFFFF"/>
              </a:highlight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347AC252-C235-49AE-823F-E51BFD33D0C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4935072" y="1534291"/>
          <a:ext cx="3852582" cy="2968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/>
          <p:cNvGraphicFramePr/>
          <p:nvPr>
            <p:extLst/>
          </p:nvPr>
        </p:nvGraphicFramePr>
        <p:xfrm>
          <a:off x="189688" y="1359586"/>
          <a:ext cx="4617636" cy="3410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31219" y="2363218"/>
            <a:ext cx="1305289" cy="278089"/>
          </a:xfrm>
          <a:prstGeom prst="rect">
            <a:avLst/>
          </a:prstGeom>
          <a:noFill/>
        </p:spPr>
        <p:txBody>
          <a:bodyPr wrap="square" lIns="108000" tIns="46800" rIns="108000" rtlCol="0" anchor="ctr">
            <a:sp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err="1" smtClean="0">
                <a:solidFill>
                  <a:schemeClr val="bg2">
                    <a:lumMod val="75000"/>
                  </a:schemeClr>
                </a:solidFill>
              </a:rPr>
              <a:t>Öljytuotteet</a:t>
            </a:r>
            <a:endParaRPr lang="en-US" sz="1200" dirty="0" smtClea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31219" y="2868207"/>
            <a:ext cx="1305289" cy="462755"/>
          </a:xfrm>
          <a:prstGeom prst="rect">
            <a:avLst/>
          </a:prstGeom>
          <a:noFill/>
        </p:spPr>
        <p:txBody>
          <a:bodyPr wrap="square" lIns="108000" tIns="46800" rIns="108000" rtlCol="0" anchor="ctr">
            <a:sp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err="1" smtClean="0">
                <a:solidFill>
                  <a:schemeClr val="bg2">
                    <a:lumMod val="75000"/>
                  </a:schemeClr>
                </a:solidFill>
              </a:rPr>
              <a:t>Uusiutuvat</a:t>
            </a: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US" sz="1200" dirty="0" err="1" smtClean="0">
                <a:solidFill>
                  <a:schemeClr val="bg2">
                    <a:lumMod val="75000"/>
                  </a:schemeClr>
                </a:solidFill>
              </a:rPr>
              <a:t>tuotteet</a:t>
            </a:r>
            <a:endParaRPr lang="en-US" sz="1200" dirty="0" smtClea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31219" y="3488128"/>
            <a:ext cx="1305289" cy="462755"/>
          </a:xfrm>
          <a:prstGeom prst="rect">
            <a:avLst/>
          </a:prstGeom>
          <a:noFill/>
        </p:spPr>
        <p:txBody>
          <a:bodyPr wrap="square" lIns="108000" tIns="46800" rIns="108000" rtlCol="0" anchor="ctr">
            <a:sp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</a:rPr>
              <a:t>Marketing </a:t>
            </a:r>
            <a:br>
              <a:rPr lang="en-US" sz="120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</a:rPr>
              <a:t>&amp; Services</a:t>
            </a:r>
          </a:p>
        </p:txBody>
      </p:sp>
    </p:spTree>
    <p:extLst>
      <p:ext uri="{BB962C8B-B14F-4D97-AF65-F5344CB8AC3E}">
        <p14:creationId xmlns:p14="http://schemas.microsoft.com/office/powerpoint/2010/main" val="2077706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30" b="11730"/>
          <a:stretch/>
        </p:blipFill>
        <p:spPr>
          <a:prstGeom prst="rect">
            <a:avLst/>
          </a:prstGeom>
        </p:spPr>
      </p:pic>
      <p:sp>
        <p:nvSpPr>
          <p:cNvPr id="4" name="Teardrop 3"/>
          <p:cNvSpPr/>
          <p:nvPr/>
        </p:nvSpPr>
        <p:spPr>
          <a:xfrm>
            <a:off x="4374931" y="673851"/>
            <a:ext cx="3948532" cy="3732611"/>
          </a:xfrm>
          <a:prstGeom prst="teardrop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5" name="Title 3"/>
          <p:cNvSpPr txBox="1">
            <a:spLocks/>
          </p:cNvSpPr>
          <p:nvPr/>
        </p:nvSpPr>
        <p:spPr bwMode="auto">
          <a:xfrm>
            <a:off x="4508938" y="1596978"/>
            <a:ext cx="3814525" cy="1740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b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lvl="0" algn="ctr">
              <a:defRPr/>
            </a:pPr>
            <a:r>
              <a:rPr kumimoji="0" lang="fi-FI" sz="3200" b="0" i="0" u="none" strike="noStrike" kern="0" cap="none" spc="0" normalizeH="0" baseline="0" dirty="0" smtClean="0">
                <a:ln>
                  <a:noFill/>
                </a:ln>
                <a:solidFill>
                  <a:srgbClr val="001177"/>
                </a:solidFill>
                <a:effectLst/>
                <a:uLnTx/>
                <a:uFillTx/>
                <a:latin typeface="Arial"/>
                <a:ea typeface="ＭＳ Ｐゴシック"/>
              </a:rPr>
              <a:t>Yrityksen strategia</a:t>
            </a:r>
          </a:p>
          <a:p>
            <a:pPr lvl="0" algn="ctr">
              <a:defRPr/>
            </a:pPr>
            <a:r>
              <a:rPr kumimoji="0" lang="fi-FI" sz="3200" b="0" i="0" u="none" strike="noStrike" kern="0" cap="none" spc="0" normalizeH="0" baseline="0" dirty="0" smtClean="0">
                <a:ln>
                  <a:noFill/>
                </a:ln>
                <a:solidFill>
                  <a:srgbClr val="001177"/>
                </a:solidFill>
                <a:effectLst/>
                <a:uLnTx/>
                <a:uFillTx/>
                <a:latin typeface="Arial"/>
                <a:ea typeface="ＭＳ Ｐゴシック"/>
              </a:rPr>
              <a:t> ja </a:t>
            </a:r>
          </a:p>
          <a:p>
            <a:pPr lvl="0" algn="ctr">
              <a:defRPr/>
            </a:pPr>
            <a:r>
              <a:rPr lang="fi-FI" sz="3200" kern="0" dirty="0">
                <a:solidFill>
                  <a:srgbClr val="001177"/>
                </a:solidFill>
                <a:latin typeface="Arial"/>
                <a:ea typeface="ＭＳ Ｐゴシック"/>
              </a:rPr>
              <a:t>t</a:t>
            </a:r>
            <a:r>
              <a:rPr kumimoji="0" lang="fi-FI" sz="3200" b="0" i="0" u="none" strike="noStrike" kern="0" cap="none" spc="0" normalizeH="0" baseline="0" dirty="0" smtClean="0">
                <a:ln>
                  <a:noFill/>
                </a:ln>
                <a:solidFill>
                  <a:srgbClr val="001177"/>
                </a:solidFill>
                <a:effectLst/>
                <a:uLnTx/>
                <a:uFillTx/>
                <a:latin typeface="Arial"/>
                <a:ea typeface="ＭＳ Ｐゴシック"/>
              </a:rPr>
              <a:t>utkimuksen painopisteet</a:t>
            </a:r>
            <a:endParaRPr kumimoji="0" lang="en-US" sz="3200" b="0" i="0" u="none" strike="noStrike" kern="0" cap="none" spc="0" normalizeH="0" baseline="0" dirty="0" smtClean="0">
              <a:ln>
                <a:noFill/>
              </a:ln>
              <a:solidFill>
                <a:srgbClr val="001177"/>
              </a:solidFill>
              <a:effectLst/>
              <a:uLnTx/>
              <a:uFillTx/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070858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n paikkamerkki 2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30" b="11730"/>
          <a:stretch>
            <a:fillRect/>
          </a:stretch>
        </p:blipFill>
        <p:spPr/>
      </p:pic>
      <p:sp>
        <p:nvSpPr>
          <p:cNvPr id="15" name="Title 28"/>
          <p:cNvSpPr txBox="1">
            <a:spLocks/>
          </p:cNvSpPr>
          <p:nvPr/>
        </p:nvSpPr>
        <p:spPr>
          <a:xfrm>
            <a:off x="0" y="712538"/>
            <a:ext cx="8654400" cy="5107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i-FI" sz="2400" b="1" dirty="0" smtClean="0">
                <a:solidFill>
                  <a:schemeClr val="bg1"/>
                </a:solidFill>
              </a:rPr>
              <a:t>Meillä on kaksi strategista tavoitetta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8" name="Oval 7"/>
          <p:cNvSpPr>
            <a:spLocks noChangeAspect="1"/>
          </p:cNvSpPr>
          <p:nvPr/>
        </p:nvSpPr>
        <p:spPr bwMode="auto">
          <a:xfrm>
            <a:off x="1858503" y="1637156"/>
            <a:ext cx="2384477" cy="23903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 err="1">
                <a:solidFill>
                  <a:schemeClr val="accent1"/>
                </a:solidFill>
              </a:rPr>
              <a:t>Itämeren</a:t>
            </a:r>
            <a:r>
              <a:rPr lang="en-US" sz="2000" b="1" dirty="0">
                <a:solidFill>
                  <a:schemeClr val="accent1"/>
                </a:solidFill>
              </a:rPr>
              <a:t> </a:t>
            </a:r>
            <a:r>
              <a:rPr lang="en-US" sz="2000" b="1" dirty="0" err="1">
                <a:solidFill>
                  <a:schemeClr val="accent1"/>
                </a:solidFill>
              </a:rPr>
              <a:t>alueen</a:t>
            </a:r>
            <a:r>
              <a:rPr lang="en-US" sz="2000" b="1" dirty="0">
                <a:solidFill>
                  <a:schemeClr val="accent1"/>
                </a:solidFill>
              </a:rPr>
              <a:t> </a:t>
            </a:r>
            <a:r>
              <a:rPr lang="en-US" sz="2000" b="1" dirty="0" err="1">
                <a:solidFill>
                  <a:schemeClr val="accent1"/>
                </a:solidFill>
              </a:rPr>
              <a:t>johtava</a:t>
            </a:r>
            <a:r>
              <a:rPr lang="en-US" sz="2000" b="1" dirty="0">
                <a:solidFill>
                  <a:schemeClr val="accent1"/>
                </a:solidFill>
              </a:rPr>
              <a:t> </a:t>
            </a:r>
            <a:r>
              <a:rPr lang="en-US" sz="2000" b="1" dirty="0" err="1">
                <a:solidFill>
                  <a:schemeClr val="accent1"/>
                </a:solidFill>
              </a:rPr>
              <a:t>toimija</a:t>
            </a:r>
            <a:endParaRPr lang="fi-FI" sz="2000" dirty="0">
              <a:solidFill>
                <a:schemeClr val="accent1"/>
              </a:solidFill>
            </a:endParaRPr>
          </a:p>
        </p:txBody>
      </p:sp>
      <p:sp>
        <p:nvSpPr>
          <p:cNvPr id="11" name="Oval 10"/>
          <p:cNvSpPr>
            <a:spLocks noChangeAspect="1"/>
          </p:cNvSpPr>
          <p:nvPr/>
        </p:nvSpPr>
        <p:spPr bwMode="auto">
          <a:xfrm>
            <a:off x="4672578" y="1637155"/>
            <a:ext cx="2384477" cy="23903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 err="1">
                <a:solidFill>
                  <a:schemeClr val="accent1"/>
                </a:solidFill>
              </a:rPr>
              <a:t>Globaali</a:t>
            </a:r>
            <a:r>
              <a:rPr lang="en-US" sz="2000" b="1" dirty="0">
                <a:solidFill>
                  <a:schemeClr val="accent1"/>
                </a:solidFill>
              </a:rPr>
              <a:t> </a:t>
            </a:r>
            <a:r>
              <a:rPr lang="en-US" sz="2000" b="1" dirty="0" err="1">
                <a:solidFill>
                  <a:schemeClr val="accent1"/>
                </a:solidFill>
              </a:rPr>
              <a:t>kasvu</a:t>
            </a:r>
            <a:r>
              <a:rPr lang="en-US" sz="2000" b="1" dirty="0">
                <a:solidFill>
                  <a:schemeClr val="accent1"/>
                </a:solidFill>
              </a:rPr>
              <a:t> </a:t>
            </a:r>
            <a:r>
              <a:rPr lang="en-US" sz="2000" b="1" dirty="0" err="1">
                <a:solidFill>
                  <a:schemeClr val="accent1"/>
                </a:solidFill>
              </a:rPr>
              <a:t>uusiutuvissa</a:t>
            </a:r>
            <a:endParaRPr lang="en-US" sz="2000" b="1" dirty="0">
              <a:solidFill>
                <a:schemeClr val="accent1"/>
              </a:solidFill>
            </a:endParaRPr>
          </a:p>
        </p:txBody>
      </p:sp>
      <p:sp>
        <p:nvSpPr>
          <p:cNvPr id="32780" name="Footer Placeholder 18"/>
          <p:cNvSpPr txBox="1">
            <a:spLocks noGrp="1"/>
          </p:cNvSpPr>
          <p:nvPr/>
        </p:nvSpPr>
        <p:spPr bwMode="auto">
          <a:xfrm>
            <a:off x="4229100" y="4803038"/>
            <a:ext cx="3114675" cy="273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en-GB" sz="90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370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52" b="3004"/>
          <a:stretch/>
        </p:blipFill>
        <p:spPr/>
      </p:pic>
      <p:sp>
        <p:nvSpPr>
          <p:cNvPr id="10" name="Title 1"/>
          <p:cNvSpPr txBox="1">
            <a:spLocks/>
          </p:cNvSpPr>
          <p:nvPr/>
        </p:nvSpPr>
        <p:spPr>
          <a:xfrm>
            <a:off x="876379" y="858421"/>
            <a:ext cx="7391242" cy="47709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 err="1" smtClean="0">
                <a:solidFill>
                  <a:schemeClr val="bg1"/>
                </a:solidFill>
              </a:rPr>
              <a:t>Johtava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toimija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I</a:t>
            </a:r>
            <a:r>
              <a:rPr lang="en-US" dirty="0" err="1" smtClean="0">
                <a:solidFill>
                  <a:schemeClr val="bg1"/>
                </a:solidFill>
              </a:rPr>
              <a:t>tämeren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alueella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endParaRPr lang="fi-FI" dirty="0">
              <a:solidFill>
                <a:schemeClr val="bg1"/>
              </a:solidFill>
            </a:endParaRPr>
          </a:p>
        </p:txBody>
      </p:sp>
      <p:sp>
        <p:nvSpPr>
          <p:cNvPr id="11" name="Oval 10"/>
          <p:cNvSpPr>
            <a:spLocks noChangeAspect="1"/>
          </p:cNvSpPr>
          <p:nvPr/>
        </p:nvSpPr>
        <p:spPr bwMode="auto">
          <a:xfrm>
            <a:off x="1903292" y="1949136"/>
            <a:ext cx="1714936" cy="171913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 err="1" smtClean="0">
                <a:solidFill>
                  <a:schemeClr val="accent2"/>
                </a:solidFill>
              </a:rPr>
              <a:t>Räätälöidyt</a:t>
            </a:r>
            <a:r>
              <a:rPr lang="en-US" sz="1200" dirty="0" smtClean="0">
                <a:solidFill>
                  <a:schemeClr val="accent2"/>
                </a:solidFill>
              </a:rPr>
              <a:t> </a:t>
            </a:r>
            <a:r>
              <a:rPr lang="en-US" sz="1200" dirty="0" err="1">
                <a:solidFill>
                  <a:schemeClr val="accent2"/>
                </a:solidFill>
              </a:rPr>
              <a:t>a</a:t>
            </a:r>
            <a:r>
              <a:rPr lang="en-US" sz="1200" dirty="0" err="1" smtClean="0">
                <a:solidFill>
                  <a:schemeClr val="accent2"/>
                </a:solidFill>
              </a:rPr>
              <a:t>siakasratkaisut</a:t>
            </a:r>
            <a:r>
              <a:rPr lang="en-US" sz="1200" dirty="0" smtClean="0">
                <a:solidFill>
                  <a:schemeClr val="accent2"/>
                </a:solidFill>
              </a:rPr>
              <a:t>, </a:t>
            </a:r>
            <a:r>
              <a:rPr lang="en-US" sz="1200" dirty="0" err="1" smtClean="0">
                <a:solidFill>
                  <a:schemeClr val="accent2"/>
                </a:solidFill>
              </a:rPr>
              <a:t>jossa</a:t>
            </a:r>
            <a:r>
              <a:rPr lang="en-US" sz="1200" dirty="0" smtClean="0">
                <a:solidFill>
                  <a:schemeClr val="accent2"/>
                </a:solidFill>
              </a:rPr>
              <a:t> </a:t>
            </a:r>
            <a:r>
              <a:rPr lang="en-US" sz="1200" dirty="0" err="1" smtClean="0">
                <a:solidFill>
                  <a:schemeClr val="accent2"/>
                </a:solidFill>
              </a:rPr>
              <a:t>yhdistyvät</a:t>
            </a:r>
            <a:r>
              <a:rPr lang="en-US" sz="1200" dirty="0" smtClean="0">
                <a:solidFill>
                  <a:schemeClr val="accent2"/>
                </a:solidFill>
              </a:rPr>
              <a:t> </a:t>
            </a:r>
            <a:r>
              <a:rPr lang="en-US" sz="1200" dirty="0" err="1" smtClean="0">
                <a:solidFill>
                  <a:schemeClr val="accent2"/>
                </a:solidFill>
              </a:rPr>
              <a:t>fossiiliset</a:t>
            </a:r>
            <a:r>
              <a:rPr lang="en-US" sz="1200" dirty="0" smtClean="0">
                <a:solidFill>
                  <a:schemeClr val="accent2"/>
                </a:solidFill>
              </a:rPr>
              <a:t> ja </a:t>
            </a:r>
            <a:r>
              <a:rPr lang="en-US" sz="1200" dirty="0" err="1" smtClean="0">
                <a:solidFill>
                  <a:schemeClr val="accent2"/>
                </a:solidFill>
              </a:rPr>
              <a:t>uusiutuvat</a:t>
            </a:r>
            <a:r>
              <a:rPr lang="en-US" sz="1200" dirty="0" smtClean="0">
                <a:solidFill>
                  <a:schemeClr val="accent2"/>
                </a:solidFill>
              </a:rPr>
              <a:t> </a:t>
            </a:r>
            <a:r>
              <a:rPr lang="en-US" sz="1200" dirty="0" err="1" smtClean="0">
                <a:solidFill>
                  <a:schemeClr val="accent2"/>
                </a:solidFill>
              </a:rPr>
              <a:t>tuotteet</a:t>
            </a:r>
            <a:r>
              <a:rPr lang="en-US" sz="1200" dirty="0" smtClean="0">
                <a:solidFill>
                  <a:schemeClr val="accent2"/>
                </a:solidFill>
              </a:rPr>
              <a:t> </a:t>
            </a:r>
            <a:endParaRPr lang="en-US" sz="1200" b="1" dirty="0">
              <a:solidFill>
                <a:schemeClr val="accent2"/>
              </a:solidFill>
            </a:endParaRPr>
          </a:p>
        </p:txBody>
      </p:sp>
      <p:sp>
        <p:nvSpPr>
          <p:cNvPr id="13" name="Oval 7"/>
          <p:cNvSpPr>
            <a:spLocks noChangeAspect="1"/>
          </p:cNvSpPr>
          <p:nvPr/>
        </p:nvSpPr>
        <p:spPr bwMode="auto">
          <a:xfrm>
            <a:off x="5525772" y="1949136"/>
            <a:ext cx="1714936" cy="171913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 err="1" smtClean="0">
                <a:solidFill>
                  <a:schemeClr val="accent2"/>
                </a:solidFill>
              </a:rPr>
              <a:t>Yli</a:t>
            </a:r>
            <a:r>
              <a:rPr lang="en-US" sz="1200" dirty="0" smtClean="0">
                <a:solidFill>
                  <a:schemeClr val="accent2"/>
                </a:solidFill>
              </a:rPr>
              <a:t> 1 000 </a:t>
            </a:r>
            <a:r>
              <a:rPr lang="en-US" sz="1200" dirty="0" err="1" smtClean="0">
                <a:solidFill>
                  <a:schemeClr val="accent2"/>
                </a:solidFill>
              </a:rPr>
              <a:t>aseman</a:t>
            </a:r>
            <a:r>
              <a:rPr lang="en-US" sz="1200" dirty="0" smtClean="0">
                <a:solidFill>
                  <a:schemeClr val="accent2"/>
                </a:solidFill>
              </a:rPr>
              <a:t> </a:t>
            </a:r>
            <a:r>
              <a:rPr lang="en-US" sz="1200" dirty="0" err="1" smtClean="0">
                <a:solidFill>
                  <a:schemeClr val="accent2"/>
                </a:solidFill>
              </a:rPr>
              <a:t>verkosto</a:t>
            </a:r>
            <a:r>
              <a:rPr lang="en-US" sz="1200" dirty="0" smtClean="0">
                <a:solidFill>
                  <a:schemeClr val="accent2"/>
                </a:solidFill>
              </a:rPr>
              <a:t> </a:t>
            </a:r>
            <a:r>
              <a:rPr lang="en-US" sz="1200" dirty="0" err="1">
                <a:solidFill>
                  <a:schemeClr val="accent2"/>
                </a:solidFill>
              </a:rPr>
              <a:t>P</a:t>
            </a:r>
            <a:r>
              <a:rPr lang="en-US" sz="1200" dirty="0" err="1" smtClean="0">
                <a:solidFill>
                  <a:schemeClr val="accent2"/>
                </a:solidFill>
              </a:rPr>
              <a:t>ohjoismaissa</a:t>
            </a:r>
            <a:r>
              <a:rPr lang="en-US" sz="1200" dirty="0" smtClean="0">
                <a:solidFill>
                  <a:schemeClr val="accent2"/>
                </a:solidFill>
              </a:rPr>
              <a:t> ja </a:t>
            </a:r>
            <a:r>
              <a:rPr lang="en-US" sz="1200" dirty="0" err="1" smtClean="0">
                <a:solidFill>
                  <a:schemeClr val="accent2"/>
                </a:solidFill>
              </a:rPr>
              <a:t>Baltiassa</a:t>
            </a:r>
            <a:endParaRPr lang="fi-FI" sz="1200" dirty="0">
              <a:solidFill>
                <a:schemeClr val="accent2"/>
              </a:solidFill>
            </a:endParaRPr>
          </a:p>
        </p:txBody>
      </p:sp>
      <p:sp>
        <p:nvSpPr>
          <p:cNvPr id="8" name="Oval 7"/>
          <p:cNvSpPr>
            <a:spLocks noChangeAspect="1"/>
          </p:cNvSpPr>
          <p:nvPr/>
        </p:nvSpPr>
        <p:spPr bwMode="auto">
          <a:xfrm>
            <a:off x="3714532" y="1949136"/>
            <a:ext cx="1714936" cy="171913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 err="1" smtClean="0">
                <a:solidFill>
                  <a:schemeClr val="accent2"/>
                </a:solidFill>
              </a:rPr>
              <a:t>Euroopan</a:t>
            </a:r>
            <a:r>
              <a:rPr lang="en-US" sz="1200" dirty="0" smtClean="0">
                <a:solidFill>
                  <a:schemeClr val="accent2"/>
                </a:solidFill>
              </a:rPr>
              <a:t> </a:t>
            </a:r>
          </a:p>
          <a:p>
            <a:pPr algn="ctr"/>
            <a:r>
              <a:rPr lang="en-US" sz="1200" dirty="0" err="1">
                <a:solidFill>
                  <a:schemeClr val="accent2"/>
                </a:solidFill>
              </a:rPr>
              <a:t>e</a:t>
            </a:r>
            <a:r>
              <a:rPr lang="en-US" sz="1200" dirty="0" err="1" smtClean="0">
                <a:solidFill>
                  <a:schemeClr val="accent2"/>
                </a:solidFill>
              </a:rPr>
              <a:t>distyneimmät</a:t>
            </a:r>
            <a:r>
              <a:rPr lang="en-US" sz="1200" dirty="0" smtClean="0">
                <a:solidFill>
                  <a:schemeClr val="accent2"/>
                </a:solidFill>
              </a:rPr>
              <a:t>  </a:t>
            </a:r>
            <a:r>
              <a:rPr lang="en-US" sz="1200" dirty="0" err="1" smtClean="0">
                <a:solidFill>
                  <a:schemeClr val="accent2"/>
                </a:solidFill>
              </a:rPr>
              <a:t>jalostamot</a:t>
            </a:r>
            <a:endParaRPr lang="en-US" sz="12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771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n paikkamerkki 2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30" b="11730"/>
          <a:stretch>
            <a:fillRect/>
          </a:stretch>
        </p:blipFill>
        <p:spPr/>
      </p:pic>
      <p:sp>
        <p:nvSpPr>
          <p:cNvPr id="4" name="Oval 17"/>
          <p:cNvSpPr>
            <a:spLocks noChangeAspect="1"/>
          </p:cNvSpPr>
          <p:nvPr/>
        </p:nvSpPr>
        <p:spPr bwMode="auto">
          <a:xfrm>
            <a:off x="1903292" y="1949136"/>
            <a:ext cx="1714936" cy="171913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fi-FI" sz="1200" dirty="0">
                <a:solidFill>
                  <a:schemeClr val="accent2"/>
                </a:solidFill>
              </a:rPr>
              <a:t>M</a:t>
            </a:r>
            <a:r>
              <a:rPr lang="fi-FI" sz="1200" dirty="0" smtClean="0">
                <a:solidFill>
                  <a:schemeClr val="accent2"/>
                </a:solidFill>
              </a:rPr>
              <a:t>aailman </a:t>
            </a:r>
            <a:r>
              <a:rPr lang="fi-FI" sz="1200" dirty="0">
                <a:solidFill>
                  <a:schemeClr val="accent2"/>
                </a:solidFill>
              </a:rPr>
              <a:t>suurin jätteistä ja tähteistä </a:t>
            </a:r>
            <a:r>
              <a:rPr lang="fi-FI" sz="1200" dirty="0" smtClean="0">
                <a:solidFill>
                  <a:schemeClr val="accent2"/>
                </a:solidFill>
              </a:rPr>
              <a:t>uusiutuvaa dieseliä valmistava yhtiö</a:t>
            </a:r>
            <a:endParaRPr lang="en-US" sz="1200" dirty="0">
              <a:solidFill>
                <a:schemeClr val="accent2"/>
              </a:solidFill>
            </a:endParaRPr>
          </a:p>
        </p:txBody>
      </p:sp>
      <p:sp>
        <p:nvSpPr>
          <p:cNvPr id="5" name="Oval 7"/>
          <p:cNvSpPr>
            <a:spLocks noChangeAspect="1"/>
          </p:cNvSpPr>
          <p:nvPr/>
        </p:nvSpPr>
        <p:spPr bwMode="auto">
          <a:xfrm>
            <a:off x="5525772" y="1949136"/>
            <a:ext cx="1714936" cy="171913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i-FI" sz="1200" dirty="0" smtClean="0">
                <a:solidFill>
                  <a:schemeClr val="accent2"/>
                </a:solidFill>
              </a:rPr>
              <a:t>20 % </a:t>
            </a:r>
          </a:p>
          <a:p>
            <a:pPr algn="ctr"/>
            <a:r>
              <a:rPr lang="fi-FI" sz="1200" dirty="0" smtClean="0">
                <a:solidFill>
                  <a:schemeClr val="accent2"/>
                </a:solidFill>
              </a:rPr>
              <a:t>uusiutuvien myyntimäärästä tieliikenteen ulkopuolisista sovelluksista  </a:t>
            </a:r>
            <a:r>
              <a:rPr lang="fi-FI" sz="1200" dirty="0">
                <a:solidFill>
                  <a:schemeClr val="accent2"/>
                </a:solidFill>
              </a:rPr>
              <a:t>2020 mennessä</a:t>
            </a:r>
            <a:endParaRPr lang="en-US" sz="1200" dirty="0">
              <a:solidFill>
                <a:schemeClr val="accent2"/>
              </a:solidFill>
            </a:endParaRPr>
          </a:p>
        </p:txBody>
      </p:sp>
      <p:sp>
        <p:nvSpPr>
          <p:cNvPr id="6" name="Oval 19"/>
          <p:cNvSpPr>
            <a:spLocks noChangeAspect="1"/>
          </p:cNvSpPr>
          <p:nvPr/>
        </p:nvSpPr>
        <p:spPr bwMode="auto">
          <a:xfrm>
            <a:off x="3714532" y="1949136"/>
            <a:ext cx="1714936" cy="171913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fi-FI" sz="1200" dirty="0" smtClean="0">
                <a:solidFill>
                  <a:schemeClr val="accent2"/>
                </a:solidFill>
              </a:rPr>
              <a:t>Etsimme </a:t>
            </a:r>
            <a:r>
              <a:rPr lang="fi-FI" sz="1200" dirty="0">
                <a:solidFill>
                  <a:schemeClr val="accent2"/>
                </a:solidFill>
              </a:rPr>
              <a:t>jatkuvasti uusia </a:t>
            </a:r>
            <a:r>
              <a:rPr lang="fi-FI" sz="1200" dirty="0" smtClean="0">
                <a:solidFill>
                  <a:schemeClr val="accent2"/>
                </a:solidFill>
              </a:rPr>
              <a:t> heikompi laatuisia </a:t>
            </a:r>
            <a:r>
              <a:rPr lang="fi-FI" sz="1200" dirty="0">
                <a:solidFill>
                  <a:schemeClr val="accent2"/>
                </a:solidFill>
              </a:rPr>
              <a:t>raaka-aineita</a:t>
            </a:r>
            <a:endParaRPr lang="en-US" sz="1200" dirty="0">
              <a:solidFill>
                <a:schemeClr val="accent2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795865" y="858421"/>
            <a:ext cx="7391242" cy="47709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i-FI" dirty="0" smtClean="0">
                <a:solidFill>
                  <a:schemeClr val="bg1"/>
                </a:solidFill>
              </a:rPr>
              <a:t>Globaali kasvu uusiutuvissa</a:t>
            </a:r>
            <a:endParaRPr lang="fi-FI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8328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n paikkamerkki 2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30" b="11730"/>
          <a:stretch>
            <a:fillRect/>
          </a:stretch>
        </p:blipFill>
        <p:spPr>
          <a:xfrm>
            <a:off x="204607" y="244800"/>
            <a:ext cx="8654400" cy="4415974"/>
          </a:xfrm>
        </p:spPr>
      </p:pic>
      <p:sp>
        <p:nvSpPr>
          <p:cNvPr id="15" name="Title 28"/>
          <p:cNvSpPr txBox="1">
            <a:spLocks/>
          </p:cNvSpPr>
          <p:nvPr/>
        </p:nvSpPr>
        <p:spPr>
          <a:xfrm>
            <a:off x="0" y="712538"/>
            <a:ext cx="8654400" cy="5107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i-FI" sz="2400" b="1" dirty="0" smtClean="0">
                <a:solidFill>
                  <a:schemeClr val="bg1"/>
                </a:solidFill>
              </a:rPr>
              <a:t>Liiketoiminta-alueet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8" name="Oval 7"/>
          <p:cNvSpPr>
            <a:spLocks noChangeAspect="1"/>
          </p:cNvSpPr>
          <p:nvPr/>
        </p:nvSpPr>
        <p:spPr bwMode="auto">
          <a:xfrm>
            <a:off x="497642" y="1485704"/>
            <a:ext cx="2384477" cy="23903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 err="1" smtClean="0">
                <a:solidFill>
                  <a:schemeClr val="accent1"/>
                </a:solidFill>
              </a:rPr>
              <a:t>Öljytuotteet</a:t>
            </a:r>
            <a:endParaRPr lang="fi-FI" sz="2000" dirty="0">
              <a:solidFill>
                <a:schemeClr val="accent1"/>
              </a:solidFill>
            </a:endParaRPr>
          </a:p>
        </p:txBody>
      </p:sp>
      <p:sp>
        <p:nvSpPr>
          <p:cNvPr id="11" name="Oval 10"/>
          <p:cNvSpPr>
            <a:spLocks noChangeAspect="1"/>
          </p:cNvSpPr>
          <p:nvPr/>
        </p:nvSpPr>
        <p:spPr bwMode="auto">
          <a:xfrm>
            <a:off x="5864816" y="1476381"/>
            <a:ext cx="2384477" cy="23903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 err="1" smtClean="0">
                <a:solidFill>
                  <a:schemeClr val="accent1"/>
                </a:solidFill>
              </a:rPr>
              <a:t>Markkinointi</a:t>
            </a:r>
            <a:r>
              <a:rPr lang="en-US" sz="2000" b="1" dirty="0" smtClean="0">
                <a:solidFill>
                  <a:schemeClr val="accent1"/>
                </a:solidFill>
              </a:rPr>
              <a:t> ja </a:t>
            </a:r>
            <a:r>
              <a:rPr lang="en-US" sz="2000" b="1" dirty="0" err="1" smtClean="0">
                <a:solidFill>
                  <a:schemeClr val="accent1"/>
                </a:solidFill>
              </a:rPr>
              <a:t>palvelut</a:t>
            </a:r>
            <a:endParaRPr lang="en-US" sz="2000" b="1" dirty="0">
              <a:solidFill>
                <a:schemeClr val="accent1"/>
              </a:solidFill>
            </a:endParaRPr>
          </a:p>
        </p:txBody>
      </p:sp>
      <p:sp>
        <p:nvSpPr>
          <p:cNvPr id="32780" name="Footer Placeholder 18"/>
          <p:cNvSpPr txBox="1">
            <a:spLocks noGrp="1"/>
          </p:cNvSpPr>
          <p:nvPr/>
        </p:nvSpPr>
        <p:spPr bwMode="auto">
          <a:xfrm>
            <a:off x="4229100" y="4803038"/>
            <a:ext cx="3114675" cy="273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en-GB" sz="900">
              <a:solidFill>
                <a:srgbClr val="666666"/>
              </a:solidFill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 bwMode="auto">
          <a:xfrm>
            <a:off x="3175154" y="1494892"/>
            <a:ext cx="2384477" cy="23903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 err="1" smtClean="0">
                <a:solidFill>
                  <a:schemeClr val="accent1"/>
                </a:solidFill>
              </a:rPr>
              <a:t>Uusiutuvat</a:t>
            </a:r>
            <a:endParaRPr lang="en-US" sz="2000" b="1" dirty="0" smtClean="0">
              <a:solidFill>
                <a:schemeClr val="accent1"/>
              </a:solidFill>
            </a:endParaRPr>
          </a:p>
          <a:p>
            <a:pPr algn="ctr"/>
            <a:r>
              <a:rPr lang="en-US" sz="2000" b="1" dirty="0" err="1" smtClean="0">
                <a:solidFill>
                  <a:schemeClr val="accent1"/>
                </a:solidFill>
              </a:rPr>
              <a:t>tuotteet</a:t>
            </a:r>
            <a:endParaRPr lang="fi-FI" sz="20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370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1847" r="1847"/>
          <a:stretch>
            <a:fillRect/>
          </a:stretch>
        </p:blipFill>
        <p:spPr>
          <a:xfrm>
            <a:off x="104123" y="519310"/>
            <a:ext cx="8401651" cy="4287007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028571" y="184945"/>
            <a:ext cx="4930101" cy="358101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 smtClean="0">
                <a:solidFill>
                  <a:srgbClr val="001177"/>
                </a:solidFill>
              </a:rPr>
              <a:t>Uusiutuvien</a:t>
            </a:r>
            <a:r>
              <a:rPr lang="en-US" dirty="0" smtClean="0">
                <a:solidFill>
                  <a:srgbClr val="001177"/>
                </a:solidFill>
              </a:rPr>
              <a:t> </a:t>
            </a:r>
            <a:r>
              <a:rPr lang="en-US" dirty="0" err="1" smtClean="0">
                <a:solidFill>
                  <a:srgbClr val="001177"/>
                </a:solidFill>
              </a:rPr>
              <a:t>polttoaineiden</a:t>
            </a:r>
            <a:r>
              <a:rPr lang="en-US" dirty="0" smtClean="0">
                <a:solidFill>
                  <a:srgbClr val="001177"/>
                </a:solidFill>
              </a:rPr>
              <a:t> </a:t>
            </a:r>
            <a:r>
              <a:rPr lang="en-US" dirty="0" err="1" smtClean="0">
                <a:solidFill>
                  <a:srgbClr val="001177"/>
                </a:solidFill>
              </a:rPr>
              <a:t>kehitys</a:t>
            </a:r>
            <a:endParaRPr lang="fi-FI" dirty="0">
              <a:solidFill>
                <a:srgbClr val="001177"/>
              </a:solidFill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832196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&#10;&#10;Description generated with very high confidence"/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09" b="11609"/>
          <a:stretch>
            <a:fillRect/>
          </a:stretch>
        </p:blipFill>
        <p:spPr/>
      </p:pic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244800" y="585560"/>
            <a:ext cx="8654400" cy="979488"/>
          </a:xfrm>
          <a:effectLst>
            <a:glow rad="139700">
              <a:schemeClr val="accent4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/>
          <a:p>
            <a:pPr algn="ctr"/>
            <a:r>
              <a:rPr lang="fi-FI" dirty="0" smtClean="0">
                <a:solidFill>
                  <a:schemeClr val="bg1"/>
                </a:solidFill>
              </a:rPr>
              <a:t>Tuloksellinen T&amp;K – osa Nesteen menestystä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 bwMode="auto">
          <a:xfrm>
            <a:off x="1858503" y="1627428"/>
            <a:ext cx="2384477" cy="2390315"/>
          </a:xfrm>
          <a:prstGeom prst="ellipse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en-US" dirty="0" smtClean="0">
                <a:solidFill>
                  <a:schemeClr val="accent2"/>
                </a:solidFill>
              </a:rPr>
              <a:t>T&amp;K </a:t>
            </a:r>
            <a:br>
              <a:rPr lang="en-US" dirty="0" smtClean="0">
                <a:solidFill>
                  <a:schemeClr val="accent2"/>
                </a:solidFill>
              </a:rPr>
            </a:br>
            <a:r>
              <a:rPr lang="en-US" dirty="0" smtClean="0">
                <a:solidFill>
                  <a:schemeClr val="accent2"/>
                </a:solidFill>
              </a:rPr>
              <a:t>-</a:t>
            </a:r>
            <a:r>
              <a:rPr lang="en-US" dirty="0" err="1" smtClean="0">
                <a:solidFill>
                  <a:schemeClr val="accent2"/>
                </a:solidFill>
              </a:rPr>
              <a:t>panostus</a:t>
            </a:r>
            <a:endParaRPr lang="en-US" dirty="0" smtClean="0">
              <a:solidFill>
                <a:schemeClr val="accent2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en-US" dirty="0" smtClean="0">
                <a:solidFill>
                  <a:schemeClr val="accent2"/>
                </a:solidFill>
              </a:rPr>
              <a:t>40 M€/v – 70 % </a:t>
            </a:r>
            <a:r>
              <a:rPr lang="en-US" dirty="0">
                <a:solidFill>
                  <a:schemeClr val="accent2"/>
                </a:solidFill>
              </a:rPr>
              <a:t/>
            </a:r>
            <a:br>
              <a:rPr lang="en-US" dirty="0">
                <a:solidFill>
                  <a:schemeClr val="accent2"/>
                </a:solidFill>
              </a:rPr>
            </a:br>
            <a:r>
              <a:rPr lang="en-US" dirty="0" err="1" smtClean="0">
                <a:solidFill>
                  <a:schemeClr val="accent2"/>
                </a:solidFill>
              </a:rPr>
              <a:t>uusiutuvien</a:t>
            </a:r>
            <a:r>
              <a:rPr lang="en-US" dirty="0" smtClean="0">
                <a:solidFill>
                  <a:schemeClr val="accent2"/>
                </a:solidFill>
              </a:rPr>
              <a:t> </a:t>
            </a:r>
            <a:r>
              <a:rPr lang="en-US" dirty="0" err="1" smtClean="0">
                <a:solidFill>
                  <a:schemeClr val="accent2"/>
                </a:solidFill>
              </a:rPr>
              <a:t>raaka-aineiden</a:t>
            </a:r>
            <a:r>
              <a:rPr lang="en-US" dirty="0" smtClean="0">
                <a:solidFill>
                  <a:schemeClr val="accent2"/>
                </a:solidFill>
              </a:rPr>
              <a:t> </a:t>
            </a:r>
            <a:r>
              <a:rPr lang="en-US" dirty="0" err="1" smtClean="0">
                <a:solidFill>
                  <a:schemeClr val="accent2"/>
                </a:solidFill>
              </a:rPr>
              <a:t>tutkimukseen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Oval 7"/>
          <p:cNvSpPr>
            <a:spLocks noChangeAspect="1"/>
          </p:cNvSpPr>
          <p:nvPr/>
        </p:nvSpPr>
        <p:spPr bwMode="auto">
          <a:xfrm>
            <a:off x="4672578" y="1637155"/>
            <a:ext cx="2384477" cy="2390315"/>
          </a:xfrm>
          <a:prstGeom prst="ellipse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en-US" dirty="0" smtClean="0">
                <a:solidFill>
                  <a:schemeClr val="accent2"/>
                </a:solidFill>
              </a:rPr>
              <a:t>1 000 </a:t>
            </a:r>
            <a:r>
              <a:rPr lang="en-US" dirty="0" err="1" smtClean="0">
                <a:solidFill>
                  <a:schemeClr val="accent2"/>
                </a:solidFill>
              </a:rPr>
              <a:t>asiantuntijaa</a:t>
            </a:r>
            <a:r>
              <a:rPr lang="en-US" dirty="0" smtClean="0">
                <a:solidFill>
                  <a:schemeClr val="accent2"/>
                </a:solidFill>
              </a:rPr>
              <a:t> </a:t>
            </a:r>
            <a:r>
              <a:rPr lang="en-US" dirty="0" err="1" smtClean="0">
                <a:solidFill>
                  <a:schemeClr val="accent2"/>
                </a:solidFill>
              </a:rPr>
              <a:t>etsii</a:t>
            </a:r>
            <a:r>
              <a:rPr lang="en-US" dirty="0" smtClean="0">
                <a:solidFill>
                  <a:schemeClr val="accent2"/>
                </a:solidFill>
              </a:rPr>
              <a:t> </a:t>
            </a:r>
            <a:r>
              <a:rPr lang="en-US" dirty="0" err="1" smtClean="0">
                <a:solidFill>
                  <a:schemeClr val="accent2"/>
                </a:solidFill>
              </a:rPr>
              <a:t>päivittäin</a:t>
            </a:r>
            <a:r>
              <a:rPr lang="en-US" dirty="0" smtClean="0">
                <a:solidFill>
                  <a:schemeClr val="accent2"/>
                </a:solidFill>
              </a:rPr>
              <a:t> </a:t>
            </a:r>
            <a:r>
              <a:rPr lang="en-US" dirty="0" err="1" smtClean="0">
                <a:solidFill>
                  <a:schemeClr val="accent2"/>
                </a:solidFill>
              </a:rPr>
              <a:t>vastuullisia</a:t>
            </a:r>
            <a:r>
              <a:rPr lang="en-US" dirty="0" smtClean="0">
                <a:solidFill>
                  <a:schemeClr val="accent2"/>
                </a:solidFill>
              </a:rPr>
              <a:t> </a:t>
            </a:r>
            <a:r>
              <a:rPr lang="en-US" dirty="0" err="1" smtClean="0">
                <a:solidFill>
                  <a:schemeClr val="accent2"/>
                </a:solidFill>
              </a:rPr>
              <a:t>vaihtoehtoja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565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8"/>
          <p:cNvGraphicFramePr>
            <a:graphicFrameLocks/>
          </p:cNvGraphicFramePr>
          <p:nvPr>
            <p:extLst/>
          </p:nvPr>
        </p:nvGraphicFramePr>
        <p:xfrm>
          <a:off x="1453243" y="1171575"/>
          <a:ext cx="5944111" cy="3119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TextBox 12"/>
          <p:cNvSpPr txBox="1">
            <a:spLocks noChangeArrowheads="1"/>
          </p:cNvSpPr>
          <p:nvPr/>
        </p:nvSpPr>
        <p:spPr bwMode="auto">
          <a:xfrm>
            <a:off x="1653370" y="1193007"/>
            <a:ext cx="5268131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i-FI" sz="1500" b="1" dirty="0">
                <a:solidFill>
                  <a:srgbClr val="000E6B"/>
                </a:solidFill>
              </a:rPr>
              <a:t>Uusiutuvien raaka-aineiden valikoima vuonna 2015</a:t>
            </a:r>
          </a:p>
        </p:txBody>
      </p:sp>
      <p:sp>
        <p:nvSpPr>
          <p:cNvPr id="51204" name="Date Placeholder 19"/>
          <p:cNvSpPr>
            <a:spLocks noGrp="1"/>
          </p:cNvSpPr>
          <p:nvPr>
            <p:ph type="dt" sz="half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26CC354A-2374-403C-9DE2-78EFFF2E92E8}" type="datetime1">
              <a:rPr lang="fi-FI" smtClean="0">
                <a:latin typeface="Arial" charset="0"/>
                <a:ea typeface="ＭＳ Ｐゴシック"/>
              </a:rPr>
              <a:t>4.2.2019</a:t>
            </a:fld>
            <a:endParaRPr lang="fi-FI" dirty="0">
              <a:latin typeface="Arial" charset="0"/>
              <a:ea typeface="ＭＳ Ｐゴシック"/>
              <a:cs typeface="ＭＳ Ｐゴシック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531519" y="2655248"/>
            <a:ext cx="2502128" cy="1177245"/>
            <a:chOff x="4518025" y="3540329"/>
            <a:chExt cx="3336170" cy="1569660"/>
          </a:xfrm>
        </p:grpSpPr>
        <p:sp>
          <p:nvSpPr>
            <p:cNvPr id="14" name="TextBox 20"/>
            <p:cNvSpPr txBox="1">
              <a:spLocks noChangeArrowheads="1"/>
            </p:cNvSpPr>
            <p:nvPr/>
          </p:nvSpPr>
          <p:spPr bwMode="auto">
            <a:xfrm>
              <a:off x="4652208" y="3540329"/>
              <a:ext cx="3201987" cy="15696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Aft>
                  <a:spcPts val="900"/>
                </a:spcAft>
              </a:pPr>
              <a:r>
                <a:rPr lang="fi-FI" sz="1050" dirty="0"/>
                <a:t>Jätteet ja tähteet</a:t>
              </a:r>
              <a:r>
                <a:rPr lang="fi-FI" sz="1350" dirty="0"/>
                <a:t/>
              </a:r>
              <a:br>
                <a:rPr lang="fi-FI" sz="1350" dirty="0"/>
              </a:br>
              <a:r>
                <a:rPr lang="fi-FI" sz="1050" dirty="0"/>
                <a:t>(esim. eläin- ja kalanrasvajätteet, palmuöljyn rasvahappotisle ja tekninen maissiöljy) </a:t>
              </a:r>
            </a:p>
            <a:p>
              <a:pPr>
                <a:spcAft>
                  <a:spcPts val="900"/>
                </a:spcAft>
              </a:pPr>
              <a:r>
                <a:rPr lang="fi-FI" sz="1050" dirty="0"/>
                <a:t>Raakapalmuöljy, 100-prosenttisesti sertifioitua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518025" y="3637476"/>
              <a:ext cx="129804" cy="129804"/>
            </a:xfrm>
            <a:prstGeom prst="rect">
              <a:avLst/>
            </a:prstGeom>
            <a:solidFill>
              <a:srgbClr val="66D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i-FI" sz="1050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24"/>
            <p:cNvSpPr/>
            <p:nvPr/>
          </p:nvSpPr>
          <p:spPr>
            <a:xfrm>
              <a:off x="4518025" y="4632904"/>
              <a:ext cx="129804" cy="129804"/>
            </a:xfrm>
            <a:prstGeom prst="rect">
              <a:avLst/>
            </a:prstGeom>
            <a:solidFill>
              <a:srgbClr val="0C0E6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i-FI" sz="1050" dirty="0">
                <a:solidFill>
                  <a:srgbClr val="FFFFFF"/>
                </a:solidFill>
              </a:endParaRPr>
            </a:p>
          </p:txBody>
        </p:sp>
      </p:grpSp>
      <p:sp>
        <p:nvSpPr>
          <p:cNvPr id="19" name="TextBox 20"/>
          <p:cNvSpPr txBox="1">
            <a:spLocks noChangeArrowheads="1"/>
          </p:cNvSpPr>
          <p:nvPr/>
        </p:nvSpPr>
        <p:spPr bwMode="auto">
          <a:xfrm>
            <a:off x="3775256" y="2911636"/>
            <a:ext cx="60981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</a:pPr>
            <a:r>
              <a:rPr lang="fi-FI" sz="1200" b="1" dirty="0">
                <a:solidFill>
                  <a:schemeClr val="bg1"/>
                </a:solidFill>
              </a:rPr>
              <a:t>68 %</a:t>
            </a:r>
          </a:p>
        </p:txBody>
      </p:sp>
      <p:sp>
        <p:nvSpPr>
          <p:cNvPr id="20" name="TextBox 20"/>
          <p:cNvSpPr txBox="1">
            <a:spLocks noChangeArrowheads="1"/>
          </p:cNvSpPr>
          <p:nvPr/>
        </p:nvSpPr>
        <p:spPr bwMode="auto">
          <a:xfrm>
            <a:off x="1889306" y="2535124"/>
            <a:ext cx="60981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</a:pPr>
            <a:r>
              <a:rPr lang="fi-FI" sz="1200" b="1" dirty="0">
                <a:solidFill>
                  <a:schemeClr val="bg1"/>
                </a:solidFill>
              </a:rPr>
              <a:t>32 %</a:t>
            </a:r>
          </a:p>
        </p:txBody>
      </p:sp>
      <p:sp>
        <p:nvSpPr>
          <p:cNvPr id="21" name="Oval 20"/>
          <p:cNvSpPr/>
          <p:nvPr/>
        </p:nvSpPr>
        <p:spPr>
          <a:xfrm>
            <a:off x="6238150" y="1267752"/>
            <a:ext cx="1612832" cy="1643884"/>
          </a:xfrm>
          <a:prstGeom prst="ellipse">
            <a:avLst/>
          </a:prstGeom>
          <a:solidFill>
            <a:schemeClr val="accent1"/>
          </a:solidFill>
          <a:ln w="952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6243869" y="1519328"/>
            <a:ext cx="1601391" cy="117723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68568" tIns="34284" rIns="68568" bIns="34284">
            <a:spAutoFit/>
          </a:bodyPr>
          <a:lstStyle/>
          <a:p>
            <a:pPr algn="ctr">
              <a:defRPr/>
            </a:pPr>
            <a:r>
              <a:rPr lang="fi-FI" sz="1200" b="1" dirty="0" smtClean="0">
                <a:solidFill>
                  <a:schemeClr val="bg1"/>
                </a:solidFill>
              </a:rPr>
              <a:t>Tekninen </a:t>
            </a:r>
            <a:r>
              <a:rPr lang="fi-FI" sz="1200" b="1" dirty="0">
                <a:solidFill>
                  <a:schemeClr val="bg1"/>
                </a:solidFill>
              </a:rPr>
              <a:t>valmius käyttää jo kokonaan jätteitä </a:t>
            </a:r>
          </a:p>
          <a:p>
            <a:pPr algn="ctr">
              <a:defRPr/>
            </a:pPr>
            <a:r>
              <a:rPr lang="fi-FI" sz="1200" b="1" dirty="0">
                <a:solidFill>
                  <a:schemeClr val="bg1"/>
                </a:solidFill>
              </a:rPr>
              <a:t>ja tähteitä uusiutuvien valmistuksessa</a:t>
            </a:r>
          </a:p>
        </p:txBody>
      </p:sp>
      <p:sp>
        <p:nvSpPr>
          <p:cNvPr id="18" name="Title 1"/>
          <p:cNvSpPr txBox="1">
            <a:spLocks/>
          </p:cNvSpPr>
          <p:nvPr/>
        </p:nvSpPr>
        <p:spPr bwMode="auto">
          <a:xfrm>
            <a:off x="1656160" y="96441"/>
            <a:ext cx="5516165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000" tIns="27000" rIns="27000" bIns="27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fi-FI" sz="2400" dirty="0" smtClean="0">
                <a:solidFill>
                  <a:srgbClr val="666666"/>
                </a:solidFill>
              </a:rPr>
              <a:t>Nykyään yli 80 </a:t>
            </a:r>
            <a:r>
              <a:rPr lang="fi-FI" sz="2400" dirty="0">
                <a:solidFill>
                  <a:srgbClr val="666666"/>
                </a:solidFill>
              </a:rPr>
              <a:t>% uusiutuvista raaka-aineistamme on jätteitä ja tähteitä</a:t>
            </a:r>
          </a:p>
        </p:txBody>
      </p:sp>
    </p:spTree>
    <p:extLst>
      <p:ext uri="{BB962C8B-B14F-4D97-AF65-F5344CB8AC3E}">
        <p14:creationId xmlns:p14="http://schemas.microsoft.com/office/powerpoint/2010/main" val="4619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77" b="11777"/>
          <a:stretch>
            <a:fillRect/>
          </a:stretch>
        </p:blipFill>
        <p:spPr/>
      </p:pic>
      <p:sp>
        <p:nvSpPr>
          <p:cNvPr id="6" name="Rectangle 5"/>
          <p:cNvSpPr/>
          <p:nvPr/>
        </p:nvSpPr>
        <p:spPr>
          <a:xfrm>
            <a:off x="1196502" y="497608"/>
            <a:ext cx="675099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3833813" algn="l"/>
              </a:tabLst>
            </a:pPr>
            <a:r>
              <a:rPr lang="en-US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ste</a:t>
            </a:r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Y Renewable </a:t>
            </a:r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esel 100% </a:t>
            </a:r>
            <a:r>
              <a:rPr lang="en-US" sz="2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usiutuvan</a:t>
            </a:r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eselin</a:t>
            </a:r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yynti</a:t>
            </a:r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oitettiin</a:t>
            </a:r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omessa</a:t>
            </a:r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uoden</a:t>
            </a:r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7 </a:t>
            </a:r>
            <a:r>
              <a:rPr lang="en-US" sz="2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ussa</a:t>
            </a:r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</a:t>
            </a:r>
            <a:endParaRPr lang="en-US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47222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>
                <a:solidFill>
                  <a:srgbClr val="001177"/>
                </a:solidFill>
              </a:rPr>
              <a:t>Esityksen sisältö</a:t>
            </a:r>
            <a:endParaRPr lang="fi-FI" dirty="0">
              <a:solidFill>
                <a:srgbClr val="001177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44800" y="1135464"/>
            <a:ext cx="5824404" cy="2833635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50000"/>
              </a:lnSpc>
            </a:pPr>
            <a:r>
              <a:rPr lang="fi-FI" sz="2400" dirty="0" smtClean="0"/>
              <a:t>Omakohtaisia kokemuksia erilaisten yritysten patentointistrategioista</a:t>
            </a:r>
          </a:p>
          <a:p>
            <a:pPr>
              <a:lnSpc>
                <a:spcPct val="150000"/>
              </a:lnSpc>
            </a:pPr>
            <a:r>
              <a:rPr lang="fi-FI" sz="2400" dirty="0" smtClean="0"/>
              <a:t>Neste Oyj pähkinänkuoressa</a:t>
            </a:r>
          </a:p>
          <a:p>
            <a:pPr>
              <a:lnSpc>
                <a:spcPct val="150000"/>
              </a:lnSpc>
            </a:pPr>
            <a:r>
              <a:rPr lang="fi-FI" sz="2400" dirty="0" smtClean="0"/>
              <a:t>Yrityksen strategia ja tutkimuksen painopisteet</a:t>
            </a:r>
          </a:p>
          <a:p>
            <a:pPr>
              <a:lnSpc>
                <a:spcPct val="150000"/>
              </a:lnSpc>
            </a:pPr>
            <a:r>
              <a:rPr lang="fi-FI" sz="2400" dirty="0" smtClean="0"/>
              <a:t>IPR strategia </a:t>
            </a:r>
          </a:p>
          <a:p>
            <a:pPr>
              <a:lnSpc>
                <a:spcPct val="150000"/>
              </a:lnSpc>
            </a:pPr>
            <a:r>
              <a:rPr lang="fi-FI" sz="2400" dirty="0" smtClean="0"/>
              <a:t>Patentointi osana yrityksen tutkimusta ja tuotekehitystä</a:t>
            </a:r>
          </a:p>
          <a:p>
            <a:pPr marL="0" indent="0">
              <a:buNone/>
            </a:pPr>
            <a:endParaRPr lang="fi-FI" dirty="0"/>
          </a:p>
        </p:txBody>
      </p:sp>
      <p:sp>
        <p:nvSpPr>
          <p:cNvPr id="7" name="Rectangle 6"/>
          <p:cNvSpPr/>
          <p:nvPr/>
        </p:nvSpPr>
        <p:spPr>
          <a:xfrm>
            <a:off x="244800" y="4331634"/>
            <a:ext cx="68593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dirty="0" smtClean="0">
                <a:solidFill>
                  <a:srgbClr val="001177"/>
                </a:solidFill>
              </a:rPr>
              <a:t>Tämä </a:t>
            </a:r>
            <a:r>
              <a:rPr lang="fi-FI" dirty="0">
                <a:solidFill>
                  <a:srgbClr val="001177"/>
                </a:solidFill>
              </a:rPr>
              <a:t>esitys edustaa </a:t>
            </a:r>
            <a:r>
              <a:rPr lang="fi-FI" dirty="0" smtClean="0">
                <a:solidFill>
                  <a:srgbClr val="001177"/>
                </a:solidFill>
              </a:rPr>
              <a:t>omia </a:t>
            </a:r>
            <a:r>
              <a:rPr lang="fi-FI" dirty="0">
                <a:solidFill>
                  <a:srgbClr val="001177"/>
                </a:solidFill>
              </a:rPr>
              <a:t>henkilökohtaisia </a:t>
            </a:r>
            <a:r>
              <a:rPr lang="fi-FI" dirty="0" smtClean="0">
                <a:solidFill>
                  <a:srgbClr val="001177"/>
                </a:solidFill>
              </a:rPr>
              <a:t>ajatuksiani otsikon aiheesta </a:t>
            </a:r>
            <a:r>
              <a:rPr lang="fi-FI" dirty="0">
                <a:solidFill>
                  <a:srgbClr val="001177"/>
                </a:solidFill>
              </a:rPr>
              <a:t>eikä siis </a:t>
            </a:r>
            <a:r>
              <a:rPr lang="fi-FI" dirty="0" smtClean="0">
                <a:solidFill>
                  <a:srgbClr val="001177"/>
                </a:solidFill>
              </a:rPr>
              <a:t>Neste </a:t>
            </a:r>
            <a:r>
              <a:rPr lang="fi-FI" dirty="0">
                <a:solidFill>
                  <a:srgbClr val="001177"/>
                </a:solidFill>
              </a:rPr>
              <a:t>Oyj:n </a:t>
            </a:r>
            <a:r>
              <a:rPr lang="fi-FI" dirty="0" smtClean="0">
                <a:solidFill>
                  <a:srgbClr val="001177"/>
                </a:solidFill>
              </a:rPr>
              <a:t>virallista näkemystä</a:t>
            </a:r>
            <a:r>
              <a:rPr lang="fi-FI" dirty="0">
                <a:solidFill>
                  <a:srgbClr val="001177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46083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alava_Nexbtl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588" y="1588"/>
            <a:ext cx="914082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956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16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4" name="Slide Number Placeholder 16"/>
          <p:cNvSpPr txBox="1">
            <a:spLocks noGrp="1"/>
          </p:cNvSpPr>
          <p:nvPr/>
        </p:nvSpPr>
        <p:spPr bwMode="auto">
          <a:xfrm>
            <a:off x="7435454" y="4795838"/>
            <a:ext cx="41552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25F23CEE-4866-4A68-AB3B-28A3E83E0564}" type="slidenum">
              <a:rPr lang="en-US" sz="900">
                <a:solidFill>
                  <a:srgbClr val="666666"/>
                </a:solidFill>
              </a:rPr>
              <a:pPr algn="r"/>
              <a:t>21</a:t>
            </a:fld>
            <a:endParaRPr lang="en-US" sz="900">
              <a:solidFill>
                <a:srgbClr val="666666"/>
              </a:solidFill>
            </a:endParaRPr>
          </a:p>
        </p:txBody>
      </p:sp>
      <p:sp>
        <p:nvSpPr>
          <p:cNvPr id="182275" name="Footer Placeholder 17"/>
          <p:cNvSpPr txBox="1">
            <a:spLocks noGrp="1"/>
          </p:cNvSpPr>
          <p:nvPr/>
        </p:nvSpPr>
        <p:spPr bwMode="auto">
          <a:xfrm>
            <a:off x="4385073" y="4795838"/>
            <a:ext cx="2958703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en-GB" sz="900">
              <a:solidFill>
                <a:srgbClr val="666666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992245" y="3322051"/>
            <a:ext cx="2246710" cy="1074002"/>
            <a:chOff x="915194" y="1508125"/>
            <a:chExt cx="2995613" cy="1432002"/>
          </a:xfrm>
        </p:grpSpPr>
        <p:grpSp>
          <p:nvGrpSpPr>
            <p:cNvPr id="5" name="Group 4"/>
            <p:cNvGrpSpPr/>
            <p:nvPr/>
          </p:nvGrpSpPr>
          <p:grpSpPr>
            <a:xfrm>
              <a:off x="915194" y="1902101"/>
              <a:ext cx="2995613" cy="1038026"/>
              <a:chOff x="962025" y="1662113"/>
              <a:chExt cx="2995613" cy="1038026"/>
            </a:xfrm>
          </p:grpSpPr>
          <p:grpSp>
            <p:nvGrpSpPr>
              <p:cNvPr id="182285" name="Group 248"/>
              <p:cNvGrpSpPr>
                <a:grpSpLocks/>
              </p:cNvGrpSpPr>
              <p:nvPr/>
            </p:nvGrpSpPr>
            <p:grpSpPr bwMode="auto">
              <a:xfrm>
                <a:off x="1038225" y="2314575"/>
                <a:ext cx="2611438" cy="76200"/>
                <a:chOff x="655" y="1483"/>
                <a:chExt cx="1645" cy="48"/>
              </a:xfrm>
            </p:grpSpPr>
            <p:sp>
              <p:nvSpPr>
                <p:cNvPr id="182378" name="Line 175"/>
                <p:cNvSpPr>
                  <a:spLocks noChangeShapeType="1"/>
                </p:cNvSpPr>
                <p:nvPr/>
              </p:nvSpPr>
              <p:spPr bwMode="auto">
                <a:xfrm flipV="1">
                  <a:off x="655" y="1483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79" name="Line 176"/>
                <p:cNvSpPr>
                  <a:spLocks noChangeShapeType="1"/>
                </p:cNvSpPr>
                <p:nvPr/>
              </p:nvSpPr>
              <p:spPr bwMode="auto">
                <a:xfrm flipH="1" flipV="1">
                  <a:off x="752" y="1483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80" name="Line 177"/>
                <p:cNvSpPr>
                  <a:spLocks noChangeShapeType="1"/>
                </p:cNvSpPr>
                <p:nvPr/>
              </p:nvSpPr>
              <p:spPr bwMode="auto">
                <a:xfrm flipV="1">
                  <a:off x="848" y="1483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81" name="Line 178"/>
                <p:cNvSpPr>
                  <a:spLocks noChangeShapeType="1"/>
                </p:cNvSpPr>
                <p:nvPr/>
              </p:nvSpPr>
              <p:spPr bwMode="auto">
                <a:xfrm flipH="1" flipV="1">
                  <a:off x="945" y="1483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82" name="Line 179"/>
                <p:cNvSpPr>
                  <a:spLocks noChangeShapeType="1"/>
                </p:cNvSpPr>
                <p:nvPr/>
              </p:nvSpPr>
              <p:spPr bwMode="auto">
                <a:xfrm flipV="1">
                  <a:off x="1042" y="1483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83" name="Line 180"/>
                <p:cNvSpPr>
                  <a:spLocks noChangeShapeType="1"/>
                </p:cNvSpPr>
                <p:nvPr/>
              </p:nvSpPr>
              <p:spPr bwMode="auto">
                <a:xfrm flipH="1" flipV="1">
                  <a:off x="1139" y="1483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84" name="Line 181"/>
                <p:cNvSpPr>
                  <a:spLocks noChangeShapeType="1"/>
                </p:cNvSpPr>
                <p:nvPr/>
              </p:nvSpPr>
              <p:spPr bwMode="auto">
                <a:xfrm flipV="1">
                  <a:off x="1235" y="1483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85" name="Line 182"/>
                <p:cNvSpPr>
                  <a:spLocks noChangeShapeType="1"/>
                </p:cNvSpPr>
                <p:nvPr/>
              </p:nvSpPr>
              <p:spPr bwMode="auto">
                <a:xfrm flipH="1" flipV="1">
                  <a:off x="1332" y="1483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86" name="Line 183"/>
                <p:cNvSpPr>
                  <a:spLocks noChangeShapeType="1"/>
                </p:cNvSpPr>
                <p:nvPr/>
              </p:nvSpPr>
              <p:spPr bwMode="auto">
                <a:xfrm flipV="1">
                  <a:off x="1429" y="1483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87" name="Line 184"/>
                <p:cNvSpPr>
                  <a:spLocks noChangeShapeType="1"/>
                </p:cNvSpPr>
                <p:nvPr/>
              </p:nvSpPr>
              <p:spPr bwMode="auto">
                <a:xfrm flipH="1" flipV="1">
                  <a:off x="1526" y="1483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88" name="Line 185"/>
                <p:cNvSpPr>
                  <a:spLocks noChangeShapeType="1"/>
                </p:cNvSpPr>
                <p:nvPr/>
              </p:nvSpPr>
              <p:spPr bwMode="auto">
                <a:xfrm flipV="1">
                  <a:off x="1622" y="1483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89" name="Line 186"/>
                <p:cNvSpPr>
                  <a:spLocks noChangeShapeType="1"/>
                </p:cNvSpPr>
                <p:nvPr/>
              </p:nvSpPr>
              <p:spPr bwMode="auto">
                <a:xfrm flipH="1" flipV="1">
                  <a:off x="1719" y="1483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90" name="Line 187"/>
                <p:cNvSpPr>
                  <a:spLocks noChangeShapeType="1"/>
                </p:cNvSpPr>
                <p:nvPr/>
              </p:nvSpPr>
              <p:spPr bwMode="auto">
                <a:xfrm flipV="1">
                  <a:off x="1816" y="1483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91" name="Line 188"/>
                <p:cNvSpPr>
                  <a:spLocks noChangeShapeType="1"/>
                </p:cNvSpPr>
                <p:nvPr/>
              </p:nvSpPr>
              <p:spPr bwMode="auto">
                <a:xfrm flipH="1" flipV="1">
                  <a:off x="1913" y="1483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92" name="Line 189"/>
                <p:cNvSpPr>
                  <a:spLocks noChangeShapeType="1"/>
                </p:cNvSpPr>
                <p:nvPr/>
              </p:nvSpPr>
              <p:spPr bwMode="auto">
                <a:xfrm flipV="1">
                  <a:off x="2009" y="1483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93" name="Line 190"/>
                <p:cNvSpPr>
                  <a:spLocks noChangeShapeType="1"/>
                </p:cNvSpPr>
                <p:nvPr/>
              </p:nvSpPr>
              <p:spPr bwMode="auto">
                <a:xfrm flipH="1" flipV="1">
                  <a:off x="2106" y="1483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94" name="Line 191"/>
                <p:cNvSpPr>
                  <a:spLocks noChangeShapeType="1"/>
                </p:cNvSpPr>
                <p:nvPr/>
              </p:nvSpPr>
              <p:spPr bwMode="auto">
                <a:xfrm flipV="1">
                  <a:off x="2203" y="1483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</p:grpSp>
          <p:grpSp>
            <p:nvGrpSpPr>
              <p:cNvPr id="182286" name="Group 249"/>
              <p:cNvGrpSpPr>
                <a:grpSpLocks/>
              </p:cNvGrpSpPr>
              <p:nvPr/>
            </p:nvGrpSpPr>
            <p:grpSpPr bwMode="auto">
              <a:xfrm>
                <a:off x="1501775" y="1662113"/>
                <a:ext cx="2455863" cy="230187"/>
                <a:chOff x="946" y="1047"/>
                <a:chExt cx="1547" cy="145"/>
              </a:xfrm>
            </p:grpSpPr>
            <p:sp>
              <p:nvSpPr>
                <p:cNvPr id="182361" name="Line 192"/>
                <p:cNvSpPr>
                  <a:spLocks noChangeShapeType="1"/>
                </p:cNvSpPr>
                <p:nvPr/>
              </p:nvSpPr>
              <p:spPr bwMode="auto">
                <a:xfrm flipV="1">
                  <a:off x="946" y="11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62" name="Line 193"/>
                <p:cNvSpPr>
                  <a:spLocks noChangeShapeType="1"/>
                </p:cNvSpPr>
                <p:nvPr/>
              </p:nvSpPr>
              <p:spPr bwMode="auto">
                <a:xfrm flipH="1" flipV="1">
                  <a:off x="1043" y="11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63" name="Line 194"/>
                <p:cNvSpPr>
                  <a:spLocks noChangeShapeType="1"/>
                </p:cNvSpPr>
                <p:nvPr/>
              </p:nvSpPr>
              <p:spPr bwMode="auto">
                <a:xfrm flipV="1">
                  <a:off x="1139" y="11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64" name="Line 195"/>
                <p:cNvSpPr>
                  <a:spLocks noChangeShapeType="1"/>
                </p:cNvSpPr>
                <p:nvPr/>
              </p:nvSpPr>
              <p:spPr bwMode="auto">
                <a:xfrm flipH="1" flipV="1">
                  <a:off x="1236" y="11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65" name="Line 196"/>
                <p:cNvSpPr>
                  <a:spLocks noChangeShapeType="1"/>
                </p:cNvSpPr>
                <p:nvPr/>
              </p:nvSpPr>
              <p:spPr bwMode="auto">
                <a:xfrm flipV="1">
                  <a:off x="1333" y="11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66" name="Line 197"/>
                <p:cNvSpPr>
                  <a:spLocks noChangeShapeType="1"/>
                </p:cNvSpPr>
                <p:nvPr/>
              </p:nvSpPr>
              <p:spPr bwMode="auto">
                <a:xfrm flipH="1" flipV="1">
                  <a:off x="1430" y="11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67" name="Line 198"/>
                <p:cNvSpPr>
                  <a:spLocks noChangeShapeType="1"/>
                </p:cNvSpPr>
                <p:nvPr/>
              </p:nvSpPr>
              <p:spPr bwMode="auto">
                <a:xfrm flipV="1">
                  <a:off x="1526" y="11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68" name="Line 199"/>
                <p:cNvSpPr>
                  <a:spLocks noChangeShapeType="1"/>
                </p:cNvSpPr>
                <p:nvPr/>
              </p:nvSpPr>
              <p:spPr bwMode="auto">
                <a:xfrm flipH="1" flipV="1">
                  <a:off x="1623" y="11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69" name="Line 200"/>
                <p:cNvSpPr>
                  <a:spLocks noChangeShapeType="1"/>
                </p:cNvSpPr>
                <p:nvPr/>
              </p:nvSpPr>
              <p:spPr bwMode="auto">
                <a:xfrm flipV="1">
                  <a:off x="1720" y="11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70" name="Line 201"/>
                <p:cNvSpPr>
                  <a:spLocks noChangeShapeType="1"/>
                </p:cNvSpPr>
                <p:nvPr/>
              </p:nvSpPr>
              <p:spPr bwMode="auto">
                <a:xfrm flipH="1" flipV="1">
                  <a:off x="1817" y="11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71" name="Line 202"/>
                <p:cNvSpPr>
                  <a:spLocks noChangeShapeType="1"/>
                </p:cNvSpPr>
                <p:nvPr/>
              </p:nvSpPr>
              <p:spPr bwMode="auto">
                <a:xfrm flipV="1">
                  <a:off x="1913" y="11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72" name="Line 203"/>
                <p:cNvSpPr>
                  <a:spLocks noChangeShapeType="1"/>
                </p:cNvSpPr>
                <p:nvPr/>
              </p:nvSpPr>
              <p:spPr bwMode="auto">
                <a:xfrm flipH="1" flipV="1">
                  <a:off x="2010" y="11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73" name="Line 204"/>
                <p:cNvSpPr>
                  <a:spLocks noChangeShapeType="1"/>
                </p:cNvSpPr>
                <p:nvPr/>
              </p:nvSpPr>
              <p:spPr bwMode="auto">
                <a:xfrm flipV="1">
                  <a:off x="2107" y="11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74" name="Line 205"/>
                <p:cNvSpPr>
                  <a:spLocks noChangeShapeType="1"/>
                </p:cNvSpPr>
                <p:nvPr/>
              </p:nvSpPr>
              <p:spPr bwMode="auto">
                <a:xfrm flipH="1" flipV="1">
                  <a:off x="2204" y="11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75" name="Line 206"/>
                <p:cNvSpPr>
                  <a:spLocks noChangeShapeType="1"/>
                </p:cNvSpPr>
                <p:nvPr/>
              </p:nvSpPr>
              <p:spPr bwMode="auto">
                <a:xfrm flipV="1">
                  <a:off x="2300" y="11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76" name="Line 207"/>
                <p:cNvSpPr>
                  <a:spLocks noChangeShapeType="1"/>
                </p:cNvSpPr>
                <p:nvPr/>
              </p:nvSpPr>
              <p:spPr bwMode="auto">
                <a:xfrm flipH="1" flipV="1">
                  <a:off x="2397" y="11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77" name="Line 208"/>
                <p:cNvSpPr>
                  <a:spLocks noChangeShapeType="1"/>
                </p:cNvSpPr>
                <p:nvPr/>
              </p:nvSpPr>
              <p:spPr bwMode="auto">
                <a:xfrm flipV="1">
                  <a:off x="2203" y="1047"/>
                  <a:ext cx="0" cy="96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</p:grpSp>
          <p:sp>
            <p:nvSpPr>
              <p:cNvPr id="182287" name="Text Box 209"/>
              <p:cNvSpPr txBox="1">
                <a:spLocks noChangeArrowheads="1"/>
              </p:cNvSpPr>
              <p:nvPr/>
            </p:nvSpPr>
            <p:spPr bwMode="auto">
              <a:xfrm>
                <a:off x="1462088" y="1892300"/>
                <a:ext cx="1049860" cy="307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GB" sz="900">
                    <a:solidFill>
                      <a:srgbClr val="666666"/>
                    </a:solidFill>
                  </a:rPr>
                  <a:t>isoparaffins</a:t>
                </a:r>
              </a:p>
            </p:txBody>
          </p:sp>
          <p:sp>
            <p:nvSpPr>
              <p:cNvPr id="182288" name="Text Box 210"/>
              <p:cNvSpPr txBox="1">
                <a:spLocks noChangeArrowheads="1"/>
              </p:cNvSpPr>
              <p:nvPr/>
            </p:nvSpPr>
            <p:spPr bwMode="auto">
              <a:xfrm>
                <a:off x="962025" y="2392363"/>
                <a:ext cx="1387560" cy="307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GB" sz="900">
                    <a:solidFill>
                      <a:srgbClr val="666666"/>
                    </a:solidFill>
                  </a:rPr>
                  <a:t>normal paraffins</a:t>
                </a:r>
              </a:p>
            </p:txBody>
          </p:sp>
        </p:grpSp>
        <p:sp>
          <p:nvSpPr>
            <p:cNvPr id="182290" name="Text Box 241"/>
            <p:cNvSpPr txBox="1">
              <a:spLocks noChangeArrowheads="1"/>
            </p:cNvSpPr>
            <p:nvPr/>
          </p:nvSpPr>
          <p:spPr bwMode="auto">
            <a:xfrm>
              <a:off x="957263" y="1508125"/>
              <a:ext cx="2321918" cy="400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GB" sz="1350" b="1" dirty="0" smtClean="0">
                  <a:solidFill>
                    <a:srgbClr val="002060"/>
                  </a:solidFill>
                </a:rPr>
                <a:t>RENEWABLE DIESEL</a:t>
              </a:r>
              <a:endParaRPr lang="en-GB" sz="1350" b="1" dirty="0">
                <a:solidFill>
                  <a:srgbClr val="002060"/>
                </a:solidFill>
              </a:endParaRPr>
            </a:p>
          </p:txBody>
        </p:sp>
      </p:grpSp>
      <p:sp>
        <p:nvSpPr>
          <p:cNvPr id="182297" name="Rectangle 153"/>
          <p:cNvSpPr>
            <a:spLocks noChangeArrowheads="1"/>
          </p:cNvSpPr>
          <p:nvPr/>
        </p:nvSpPr>
        <p:spPr bwMode="auto">
          <a:xfrm rot="1644455">
            <a:off x="3861197" y="3420666"/>
            <a:ext cx="95250" cy="42863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 sz="1350">
              <a:solidFill>
                <a:srgbClr val="666666"/>
              </a:solidFill>
            </a:endParaRPr>
          </a:p>
        </p:txBody>
      </p:sp>
      <p:sp>
        <p:nvSpPr>
          <p:cNvPr id="182298" name="Rectangle 154"/>
          <p:cNvSpPr>
            <a:spLocks noChangeArrowheads="1"/>
          </p:cNvSpPr>
          <p:nvPr/>
        </p:nvSpPr>
        <p:spPr bwMode="auto">
          <a:xfrm rot="9176715">
            <a:off x="3862388" y="3540919"/>
            <a:ext cx="95250" cy="42863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 sz="1350">
              <a:solidFill>
                <a:srgbClr val="666666"/>
              </a:solidFill>
            </a:endParaRPr>
          </a:p>
        </p:txBody>
      </p:sp>
      <p:sp>
        <p:nvSpPr>
          <p:cNvPr id="182299" name="Rectangle 155"/>
          <p:cNvSpPr>
            <a:spLocks noChangeArrowheads="1"/>
          </p:cNvSpPr>
          <p:nvPr/>
        </p:nvSpPr>
        <p:spPr bwMode="auto">
          <a:xfrm rot="5400000">
            <a:off x="3758804" y="3482578"/>
            <a:ext cx="95250" cy="42863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 sz="1350">
              <a:solidFill>
                <a:srgbClr val="666666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911283" y="779352"/>
            <a:ext cx="2520964" cy="2119163"/>
            <a:chOff x="654050" y="3335338"/>
            <a:chExt cx="3361285" cy="2825551"/>
          </a:xfrm>
        </p:grpSpPr>
        <p:sp>
          <p:nvSpPr>
            <p:cNvPr id="182291" name="Text Box 242"/>
            <p:cNvSpPr txBox="1">
              <a:spLocks noChangeArrowheads="1"/>
            </p:cNvSpPr>
            <p:nvPr/>
          </p:nvSpPr>
          <p:spPr bwMode="auto">
            <a:xfrm>
              <a:off x="654050" y="3335338"/>
              <a:ext cx="1750906" cy="400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GB" sz="1350" b="1" dirty="0" smtClean="0">
                  <a:solidFill>
                    <a:srgbClr val="002060"/>
                  </a:solidFill>
                </a:rPr>
                <a:t>FOSSIL DIESEL</a:t>
              </a:r>
              <a:endParaRPr lang="en-GB" sz="1350" b="1" dirty="0">
                <a:solidFill>
                  <a:srgbClr val="002060"/>
                </a:solidFill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723900" y="3625850"/>
              <a:ext cx="3291435" cy="2535039"/>
              <a:chOff x="1038225" y="3444875"/>
              <a:chExt cx="3291435" cy="2535039"/>
            </a:xfrm>
          </p:grpSpPr>
          <p:grpSp>
            <p:nvGrpSpPr>
              <p:cNvPr id="182277" name="Group 285"/>
              <p:cNvGrpSpPr>
                <a:grpSpLocks/>
              </p:cNvGrpSpPr>
              <p:nvPr/>
            </p:nvGrpSpPr>
            <p:grpSpPr bwMode="auto">
              <a:xfrm>
                <a:off x="1268413" y="4137025"/>
                <a:ext cx="2305050" cy="76200"/>
                <a:chOff x="823" y="2451"/>
                <a:chExt cx="1452" cy="48"/>
              </a:xfrm>
            </p:grpSpPr>
            <p:sp>
              <p:nvSpPr>
                <p:cNvPr id="182410" name="Line 132"/>
                <p:cNvSpPr>
                  <a:spLocks noChangeShapeType="1"/>
                </p:cNvSpPr>
                <p:nvPr/>
              </p:nvSpPr>
              <p:spPr bwMode="auto">
                <a:xfrm flipV="1">
                  <a:off x="823" y="2451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11" name="Line 133"/>
                <p:cNvSpPr>
                  <a:spLocks noChangeShapeType="1"/>
                </p:cNvSpPr>
                <p:nvPr/>
              </p:nvSpPr>
              <p:spPr bwMode="auto">
                <a:xfrm flipH="1" flipV="1">
                  <a:off x="920" y="2451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12" name="Line 134"/>
                <p:cNvSpPr>
                  <a:spLocks noChangeShapeType="1"/>
                </p:cNvSpPr>
                <p:nvPr/>
              </p:nvSpPr>
              <p:spPr bwMode="auto">
                <a:xfrm flipV="1">
                  <a:off x="1017" y="2451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13" name="Line 135"/>
                <p:cNvSpPr>
                  <a:spLocks noChangeShapeType="1"/>
                </p:cNvSpPr>
                <p:nvPr/>
              </p:nvSpPr>
              <p:spPr bwMode="auto">
                <a:xfrm flipH="1" flipV="1">
                  <a:off x="1114" y="2451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14" name="Line 136"/>
                <p:cNvSpPr>
                  <a:spLocks noChangeShapeType="1"/>
                </p:cNvSpPr>
                <p:nvPr/>
              </p:nvSpPr>
              <p:spPr bwMode="auto">
                <a:xfrm flipV="1">
                  <a:off x="1210" y="2451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15" name="Line 137"/>
                <p:cNvSpPr>
                  <a:spLocks noChangeShapeType="1"/>
                </p:cNvSpPr>
                <p:nvPr/>
              </p:nvSpPr>
              <p:spPr bwMode="auto">
                <a:xfrm flipH="1" flipV="1">
                  <a:off x="1307" y="2451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16" name="Line 138"/>
                <p:cNvSpPr>
                  <a:spLocks noChangeShapeType="1"/>
                </p:cNvSpPr>
                <p:nvPr/>
              </p:nvSpPr>
              <p:spPr bwMode="auto">
                <a:xfrm flipV="1">
                  <a:off x="1404" y="2451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17" name="Line 139"/>
                <p:cNvSpPr>
                  <a:spLocks noChangeShapeType="1"/>
                </p:cNvSpPr>
                <p:nvPr/>
              </p:nvSpPr>
              <p:spPr bwMode="auto">
                <a:xfrm flipH="1" flipV="1">
                  <a:off x="1501" y="2451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18" name="Line 140"/>
                <p:cNvSpPr>
                  <a:spLocks noChangeShapeType="1"/>
                </p:cNvSpPr>
                <p:nvPr/>
              </p:nvSpPr>
              <p:spPr bwMode="auto">
                <a:xfrm flipV="1">
                  <a:off x="1597" y="2451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19" name="Line 141"/>
                <p:cNvSpPr>
                  <a:spLocks noChangeShapeType="1"/>
                </p:cNvSpPr>
                <p:nvPr/>
              </p:nvSpPr>
              <p:spPr bwMode="auto">
                <a:xfrm flipH="1" flipV="1">
                  <a:off x="1694" y="2451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20" name="Line 142"/>
                <p:cNvSpPr>
                  <a:spLocks noChangeShapeType="1"/>
                </p:cNvSpPr>
                <p:nvPr/>
              </p:nvSpPr>
              <p:spPr bwMode="auto">
                <a:xfrm flipV="1">
                  <a:off x="1791" y="2451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21" name="Line 143"/>
                <p:cNvSpPr>
                  <a:spLocks noChangeShapeType="1"/>
                </p:cNvSpPr>
                <p:nvPr/>
              </p:nvSpPr>
              <p:spPr bwMode="auto">
                <a:xfrm flipH="1" flipV="1">
                  <a:off x="1888" y="2451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22" name="Line 144"/>
                <p:cNvSpPr>
                  <a:spLocks noChangeShapeType="1"/>
                </p:cNvSpPr>
                <p:nvPr/>
              </p:nvSpPr>
              <p:spPr bwMode="auto">
                <a:xfrm flipV="1">
                  <a:off x="1984" y="2451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23" name="Line 145"/>
                <p:cNvSpPr>
                  <a:spLocks noChangeShapeType="1"/>
                </p:cNvSpPr>
                <p:nvPr/>
              </p:nvSpPr>
              <p:spPr bwMode="auto">
                <a:xfrm flipH="1" flipV="1">
                  <a:off x="2081" y="2451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24" name="Line 146"/>
                <p:cNvSpPr>
                  <a:spLocks noChangeShapeType="1"/>
                </p:cNvSpPr>
                <p:nvPr/>
              </p:nvSpPr>
              <p:spPr bwMode="auto">
                <a:xfrm flipV="1">
                  <a:off x="2178" y="2451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</p:grpSp>
          <p:grpSp>
            <p:nvGrpSpPr>
              <p:cNvPr id="182278" name="Group 284"/>
              <p:cNvGrpSpPr>
                <a:grpSpLocks/>
              </p:cNvGrpSpPr>
              <p:nvPr/>
            </p:nvGrpSpPr>
            <p:grpSpPr bwMode="auto">
              <a:xfrm>
                <a:off x="1730375" y="3444875"/>
                <a:ext cx="2149475" cy="230188"/>
                <a:chOff x="1114" y="2015"/>
                <a:chExt cx="1354" cy="145"/>
              </a:xfrm>
            </p:grpSpPr>
            <p:sp>
              <p:nvSpPr>
                <p:cNvPr id="182395" name="Line 149"/>
                <p:cNvSpPr>
                  <a:spLocks noChangeShapeType="1"/>
                </p:cNvSpPr>
                <p:nvPr/>
              </p:nvSpPr>
              <p:spPr bwMode="auto">
                <a:xfrm flipV="1">
                  <a:off x="1114" y="2112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96" name="Line 150"/>
                <p:cNvSpPr>
                  <a:spLocks noChangeShapeType="1"/>
                </p:cNvSpPr>
                <p:nvPr/>
              </p:nvSpPr>
              <p:spPr bwMode="auto">
                <a:xfrm flipH="1" flipV="1">
                  <a:off x="1211" y="2112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97" name="Line 151"/>
                <p:cNvSpPr>
                  <a:spLocks noChangeShapeType="1"/>
                </p:cNvSpPr>
                <p:nvPr/>
              </p:nvSpPr>
              <p:spPr bwMode="auto">
                <a:xfrm flipV="1">
                  <a:off x="1308" y="2112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98" name="Line 152"/>
                <p:cNvSpPr>
                  <a:spLocks noChangeShapeType="1"/>
                </p:cNvSpPr>
                <p:nvPr/>
              </p:nvSpPr>
              <p:spPr bwMode="auto">
                <a:xfrm flipH="1" flipV="1">
                  <a:off x="1405" y="2112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99" name="Line 153"/>
                <p:cNvSpPr>
                  <a:spLocks noChangeShapeType="1"/>
                </p:cNvSpPr>
                <p:nvPr/>
              </p:nvSpPr>
              <p:spPr bwMode="auto">
                <a:xfrm flipV="1">
                  <a:off x="1501" y="2112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00" name="Line 154"/>
                <p:cNvSpPr>
                  <a:spLocks noChangeShapeType="1"/>
                </p:cNvSpPr>
                <p:nvPr/>
              </p:nvSpPr>
              <p:spPr bwMode="auto">
                <a:xfrm flipH="1" flipV="1">
                  <a:off x="1598" y="2112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01" name="Line 155"/>
                <p:cNvSpPr>
                  <a:spLocks noChangeShapeType="1"/>
                </p:cNvSpPr>
                <p:nvPr/>
              </p:nvSpPr>
              <p:spPr bwMode="auto">
                <a:xfrm flipV="1">
                  <a:off x="1695" y="2112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02" name="Line 156"/>
                <p:cNvSpPr>
                  <a:spLocks noChangeShapeType="1"/>
                </p:cNvSpPr>
                <p:nvPr/>
              </p:nvSpPr>
              <p:spPr bwMode="auto">
                <a:xfrm flipH="1" flipV="1">
                  <a:off x="1792" y="2112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03" name="Line 157"/>
                <p:cNvSpPr>
                  <a:spLocks noChangeShapeType="1"/>
                </p:cNvSpPr>
                <p:nvPr/>
              </p:nvSpPr>
              <p:spPr bwMode="auto">
                <a:xfrm flipV="1">
                  <a:off x="1888" y="2112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04" name="Line 158"/>
                <p:cNvSpPr>
                  <a:spLocks noChangeShapeType="1"/>
                </p:cNvSpPr>
                <p:nvPr/>
              </p:nvSpPr>
              <p:spPr bwMode="auto">
                <a:xfrm flipH="1" flipV="1">
                  <a:off x="1985" y="2112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05" name="Line 159"/>
                <p:cNvSpPr>
                  <a:spLocks noChangeShapeType="1"/>
                </p:cNvSpPr>
                <p:nvPr/>
              </p:nvSpPr>
              <p:spPr bwMode="auto">
                <a:xfrm flipV="1">
                  <a:off x="2082" y="2112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06" name="Line 160"/>
                <p:cNvSpPr>
                  <a:spLocks noChangeShapeType="1"/>
                </p:cNvSpPr>
                <p:nvPr/>
              </p:nvSpPr>
              <p:spPr bwMode="auto">
                <a:xfrm flipH="1" flipV="1">
                  <a:off x="2179" y="2112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07" name="Line 161"/>
                <p:cNvSpPr>
                  <a:spLocks noChangeShapeType="1"/>
                </p:cNvSpPr>
                <p:nvPr/>
              </p:nvSpPr>
              <p:spPr bwMode="auto">
                <a:xfrm flipV="1">
                  <a:off x="2275" y="2112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08" name="Line 162"/>
                <p:cNvSpPr>
                  <a:spLocks noChangeShapeType="1"/>
                </p:cNvSpPr>
                <p:nvPr/>
              </p:nvSpPr>
              <p:spPr bwMode="auto">
                <a:xfrm flipH="1" flipV="1">
                  <a:off x="2372" y="2112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409" name="Line 163"/>
                <p:cNvSpPr>
                  <a:spLocks noChangeShapeType="1"/>
                </p:cNvSpPr>
                <p:nvPr/>
              </p:nvSpPr>
              <p:spPr bwMode="auto">
                <a:xfrm flipV="1">
                  <a:off x="2178" y="2015"/>
                  <a:ext cx="0" cy="96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</p:grpSp>
          <p:sp>
            <p:nvSpPr>
              <p:cNvPr id="182279" name="Text Box 164"/>
              <p:cNvSpPr txBox="1">
                <a:spLocks noChangeArrowheads="1"/>
              </p:cNvSpPr>
              <p:nvPr/>
            </p:nvSpPr>
            <p:spPr bwMode="auto">
              <a:xfrm>
                <a:off x="1692276" y="3675063"/>
                <a:ext cx="1049860" cy="307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GB" sz="900">
                    <a:solidFill>
                      <a:srgbClr val="666666"/>
                    </a:solidFill>
                  </a:rPr>
                  <a:t>isoparaffins</a:t>
                </a:r>
              </a:p>
            </p:txBody>
          </p:sp>
          <p:sp>
            <p:nvSpPr>
              <p:cNvPr id="182280" name="Text Box 165"/>
              <p:cNvSpPr txBox="1">
                <a:spLocks noChangeArrowheads="1"/>
              </p:cNvSpPr>
              <p:nvPr/>
            </p:nvSpPr>
            <p:spPr bwMode="auto">
              <a:xfrm>
                <a:off x="1268413" y="4213224"/>
                <a:ext cx="1387560" cy="307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GB" sz="900">
                    <a:solidFill>
                      <a:srgbClr val="666666"/>
                    </a:solidFill>
                  </a:rPr>
                  <a:t>normal paraffins</a:t>
                </a:r>
              </a:p>
            </p:txBody>
          </p:sp>
          <p:pic>
            <p:nvPicPr>
              <p:cNvPr id="182281" name="Picture 167" descr="File:Naphthalene-2D-Skeletal.svg">
                <a:hlinkClick r:id="rId3"/>
              </p:cNvPr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3381375" y="5327650"/>
                <a:ext cx="538163" cy="3143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82282" name="Text Box 168"/>
              <p:cNvSpPr txBox="1">
                <a:spLocks noChangeArrowheads="1"/>
              </p:cNvSpPr>
              <p:nvPr/>
            </p:nvSpPr>
            <p:spPr bwMode="auto">
              <a:xfrm>
                <a:off x="3113088" y="5672138"/>
                <a:ext cx="1216572" cy="307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GB" sz="900">
                    <a:solidFill>
                      <a:srgbClr val="666666"/>
                    </a:solidFill>
                  </a:rPr>
                  <a:t>polyaromatics</a:t>
                </a:r>
              </a:p>
            </p:txBody>
          </p:sp>
          <p:sp>
            <p:nvSpPr>
              <p:cNvPr id="182283" name="Text Box 171"/>
              <p:cNvSpPr txBox="1">
                <a:spLocks noChangeArrowheads="1"/>
              </p:cNvSpPr>
              <p:nvPr/>
            </p:nvSpPr>
            <p:spPr bwMode="auto">
              <a:xfrm>
                <a:off x="2120900" y="5519738"/>
                <a:ext cx="925895" cy="307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GB" sz="900">
                    <a:solidFill>
                      <a:srgbClr val="666666"/>
                    </a:solidFill>
                  </a:rPr>
                  <a:t>aromatics</a:t>
                </a:r>
              </a:p>
            </p:txBody>
          </p:sp>
          <p:sp>
            <p:nvSpPr>
              <p:cNvPr id="182296" name="Text Box 171"/>
              <p:cNvSpPr txBox="1">
                <a:spLocks noChangeArrowheads="1"/>
              </p:cNvSpPr>
              <p:nvPr/>
            </p:nvSpPr>
            <p:spPr bwMode="auto">
              <a:xfrm>
                <a:off x="1038225" y="5365750"/>
                <a:ext cx="1037036" cy="307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GB" sz="900">
                    <a:solidFill>
                      <a:srgbClr val="666666"/>
                    </a:solidFill>
                  </a:rPr>
                  <a:t>naphthenes</a:t>
                </a:r>
              </a:p>
            </p:txBody>
          </p:sp>
          <p:grpSp>
            <p:nvGrpSpPr>
              <p:cNvPr id="182300" name="Group 158"/>
              <p:cNvGrpSpPr>
                <a:grpSpLocks/>
              </p:cNvGrpSpPr>
              <p:nvPr/>
            </p:nvGrpSpPr>
            <p:grpSpPr bwMode="auto">
              <a:xfrm>
                <a:off x="2397125" y="4906963"/>
                <a:ext cx="333375" cy="641350"/>
                <a:chOff x="861" y="2756"/>
                <a:chExt cx="210" cy="404"/>
              </a:xfrm>
            </p:grpSpPr>
            <p:pic>
              <p:nvPicPr>
                <p:cNvPr id="182308" name="Picture 170" descr="File:Linear alkylbenzene.png">
                  <a:hlinkClick r:id="rId5"/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/>
                <a:srcRect l="43951" t="22842" r="34961"/>
                <a:stretch>
                  <a:fillRect/>
                </a:stretch>
              </p:blipFill>
              <p:spPr bwMode="auto">
                <a:xfrm>
                  <a:off x="861" y="2856"/>
                  <a:ext cx="190" cy="30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182309" name="Text Box 160"/>
                <p:cNvSpPr txBox="1">
                  <a:spLocks noChangeArrowheads="1"/>
                </p:cNvSpPr>
                <p:nvPr/>
              </p:nvSpPr>
              <p:spPr bwMode="auto">
                <a:xfrm>
                  <a:off x="878" y="2756"/>
                  <a:ext cx="193" cy="15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GB" sz="600">
                      <a:solidFill>
                        <a:srgbClr val="000000"/>
                      </a:solidFill>
                    </a:rPr>
                    <a:t>R</a:t>
                  </a:r>
                </a:p>
              </p:txBody>
            </p:sp>
          </p:grpSp>
          <p:grpSp>
            <p:nvGrpSpPr>
              <p:cNvPr id="182301" name="Group 164"/>
              <p:cNvGrpSpPr>
                <a:grpSpLocks/>
              </p:cNvGrpSpPr>
              <p:nvPr/>
            </p:nvGrpSpPr>
            <p:grpSpPr bwMode="auto">
              <a:xfrm>
                <a:off x="1366838" y="4737100"/>
                <a:ext cx="333375" cy="641350"/>
                <a:chOff x="861" y="2756"/>
                <a:chExt cx="210" cy="404"/>
              </a:xfrm>
            </p:grpSpPr>
            <p:grpSp>
              <p:nvGrpSpPr>
                <p:cNvPr id="182302" name="Group 157"/>
                <p:cNvGrpSpPr>
                  <a:grpSpLocks/>
                </p:cNvGrpSpPr>
                <p:nvPr/>
              </p:nvGrpSpPr>
              <p:grpSpPr bwMode="auto">
                <a:xfrm>
                  <a:off x="861" y="2756"/>
                  <a:ext cx="210" cy="404"/>
                  <a:chOff x="861" y="2756"/>
                  <a:chExt cx="210" cy="404"/>
                </a:xfrm>
              </p:grpSpPr>
              <p:pic>
                <p:nvPicPr>
                  <p:cNvPr id="182306" name="Picture 170" descr="File:Linear alkylbenzene.png">
                    <a:hlinkClick r:id="rId5"/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/>
                  <a:srcRect l="43951" t="22842" r="34961"/>
                  <a:stretch>
                    <a:fillRect/>
                  </a:stretch>
                </p:blipFill>
                <p:spPr bwMode="auto">
                  <a:xfrm>
                    <a:off x="861" y="2856"/>
                    <a:ext cx="190" cy="304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sp>
                <p:nvSpPr>
                  <p:cNvPr id="182307" name="Text Box 15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878" y="2756"/>
                    <a:ext cx="193" cy="15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r>
                      <a:rPr lang="en-GB" sz="600">
                        <a:solidFill>
                          <a:srgbClr val="000000"/>
                        </a:solidFill>
                      </a:rPr>
                      <a:t>R</a:t>
                    </a:r>
                  </a:p>
                </p:txBody>
              </p:sp>
            </p:grpSp>
            <p:sp>
              <p:nvSpPr>
                <p:cNvPr id="182303" name="Rectangle 161"/>
                <p:cNvSpPr>
                  <a:spLocks noChangeArrowheads="1"/>
                </p:cNvSpPr>
                <p:nvPr/>
              </p:nvSpPr>
              <p:spPr bwMode="auto">
                <a:xfrm rot="-1698045">
                  <a:off x="947" y="3085"/>
                  <a:ext cx="90" cy="27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04" name="Rectangle 162"/>
                <p:cNvSpPr>
                  <a:spLocks noChangeArrowheads="1"/>
                </p:cNvSpPr>
                <p:nvPr/>
              </p:nvSpPr>
              <p:spPr bwMode="auto">
                <a:xfrm rot="5400000">
                  <a:off x="853" y="3035"/>
                  <a:ext cx="90" cy="27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05" name="Rectangle 163"/>
                <p:cNvSpPr>
                  <a:spLocks noChangeArrowheads="1"/>
                </p:cNvSpPr>
                <p:nvPr/>
              </p:nvSpPr>
              <p:spPr bwMode="auto">
                <a:xfrm rot="-8851729">
                  <a:off x="943" y="2981"/>
                  <a:ext cx="90" cy="27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350">
                    <a:solidFill>
                      <a:srgbClr val="666666"/>
                    </a:solidFill>
                  </a:endParaRPr>
                </a:p>
              </p:txBody>
            </p:sp>
          </p:grpSp>
        </p:grpSp>
      </p:grpSp>
      <p:grpSp>
        <p:nvGrpSpPr>
          <p:cNvPr id="8" name="Group 7"/>
          <p:cNvGrpSpPr/>
          <p:nvPr/>
        </p:nvGrpSpPr>
        <p:grpSpPr>
          <a:xfrm>
            <a:off x="4219743" y="850464"/>
            <a:ext cx="2964338" cy="1452413"/>
            <a:chOff x="4865687" y="1506815"/>
            <a:chExt cx="3952450" cy="1936550"/>
          </a:xfrm>
        </p:grpSpPr>
        <p:sp>
          <p:nvSpPr>
            <p:cNvPr id="182292" name="Text Box 244"/>
            <p:cNvSpPr txBox="1">
              <a:spLocks noChangeArrowheads="1"/>
            </p:cNvSpPr>
            <p:nvPr/>
          </p:nvSpPr>
          <p:spPr bwMode="auto">
            <a:xfrm>
              <a:off x="4865687" y="1506815"/>
              <a:ext cx="3952450" cy="400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GB" sz="1350" b="1" dirty="0">
                  <a:solidFill>
                    <a:srgbClr val="002060"/>
                  </a:solidFill>
                </a:rPr>
                <a:t>BIODIESEL </a:t>
              </a:r>
              <a:r>
                <a:rPr lang="en-GB" sz="1350" b="1" dirty="0" smtClean="0">
                  <a:solidFill>
                    <a:srgbClr val="002060"/>
                  </a:solidFill>
                </a:rPr>
                <a:t>= FAME </a:t>
              </a:r>
              <a:r>
                <a:rPr lang="en-GB" sz="900" dirty="0">
                  <a:solidFill>
                    <a:srgbClr val="002060"/>
                  </a:solidFill>
                </a:rPr>
                <a:t>(</a:t>
              </a:r>
              <a:r>
                <a:rPr lang="en-GB" sz="900" b="1" dirty="0">
                  <a:solidFill>
                    <a:srgbClr val="002060"/>
                  </a:solidFill>
                </a:rPr>
                <a:t>f</a:t>
              </a:r>
              <a:r>
                <a:rPr lang="en-GB" sz="900" dirty="0">
                  <a:solidFill>
                    <a:srgbClr val="002060"/>
                  </a:solidFill>
                </a:rPr>
                <a:t>atty </a:t>
              </a:r>
              <a:r>
                <a:rPr lang="en-GB" sz="900" b="1" dirty="0">
                  <a:solidFill>
                    <a:srgbClr val="002060"/>
                  </a:solidFill>
                </a:rPr>
                <a:t>a</a:t>
              </a:r>
              <a:r>
                <a:rPr lang="en-GB" sz="900" dirty="0">
                  <a:solidFill>
                    <a:srgbClr val="002060"/>
                  </a:solidFill>
                </a:rPr>
                <a:t>cid </a:t>
              </a:r>
              <a:r>
                <a:rPr lang="en-GB" sz="900" b="1" dirty="0">
                  <a:solidFill>
                    <a:srgbClr val="002060"/>
                  </a:solidFill>
                </a:rPr>
                <a:t>m</a:t>
              </a:r>
              <a:r>
                <a:rPr lang="en-GB" sz="900" dirty="0">
                  <a:solidFill>
                    <a:srgbClr val="002060"/>
                  </a:solidFill>
                </a:rPr>
                <a:t>ethyl </a:t>
              </a:r>
              <a:r>
                <a:rPr lang="en-GB" sz="900" b="1" dirty="0">
                  <a:solidFill>
                    <a:srgbClr val="002060"/>
                  </a:solidFill>
                </a:rPr>
                <a:t>e</a:t>
              </a:r>
              <a:r>
                <a:rPr lang="en-GB" sz="900" dirty="0">
                  <a:solidFill>
                    <a:srgbClr val="002060"/>
                  </a:solidFill>
                </a:rPr>
                <a:t>ster)</a:t>
              </a: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4992902" y="2046565"/>
              <a:ext cx="3322637" cy="1396800"/>
              <a:chOff x="4745038" y="3606801"/>
              <a:chExt cx="3322637" cy="1396800"/>
            </a:xfrm>
          </p:grpSpPr>
          <p:grpSp>
            <p:nvGrpSpPr>
              <p:cNvPr id="182289" name="Group 245"/>
              <p:cNvGrpSpPr>
                <a:grpSpLocks/>
              </p:cNvGrpSpPr>
              <p:nvPr/>
            </p:nvGrpSpPr>
            <p:grpSpPr bwMode="auto">
              <a:xfrm>
                <a:off x="5148263" y="4351338"/>
                <a:ext cx="2919412" cy="339725"/>
                <a:chOff x="3147" y="2510"/>
                <a:chExt cx="1839" cy="214"/>
              </a:xfrm>
            </p:grpSpPr>
            <p:sp>
              <p:nvSpPr>
                <p:cNvPr id="182336" name="Line 211"/>
                <p:cNvSpPr>
                  <a:spLocks noChangeShapeType="1"/>
                </p:cNvSpPr>
                <p:nvPr/>
              </p:nvSpPr>
              <p:spPr bwMode="auto">
                <a:xfrm flipV="1">
                  <a:off x="3244" y="26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37" name="Line 212"/>
                <p:cNvSpPr>
                  <a:spLocks noChangeShapeType="1"/>
                </p:cNvSpPr>
                <p:nvPr/>
              </p:nvSpPr>
              <p:spPr bwMode="auto">
                <a:xfrm flipH="1" flipV="1">
                  <a:off x="3341" y="26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38" name="Line 213"/>
                <p:cNvSpPr>
                  <a:spLocks noChangeShapeType="1"/>
                </p:cNvSpPr>
                <p:nvPr/>
              </p:nvSpPr>
              <p:spPr bwMode="auto">
                <a:xfrm flipV="1">
                  <a:off x="3437" y="26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39" name="Line 214"/>
                <p:cNvSpPr>
                  <a:spLocks noChangeShapeType="1"/>
                </p:cNvSpPr>
                <p:nvPr/>
              </p:nvSpPr>
              <p:spPr bwMode="auto">
                <a:xfrm flipH="1" flipV="1">
                  <a:off x="3534" y="26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40" name="Line 215"/>
                <p:cNvSpPr>
                  <a:spLocks noChangeShapeType="1"/>
                </p:cNvSpPr>
                <p:nvPr/>
              </p:nvSpPr>
              <p:spPr bwMode="auto">
                <a:xfrm flipV="1">
                  <a:off x="3631" y="26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41" name="Line 216"/>
                <p:cNvSpPr>
                  <a:spLocks noChangeShapeType="1"/>
                </p:cNvSpPr>
                <p:nvPr/>
              </p:nvSpPr>
              <p:spPr bwMode="auto">
                <a:xfrm flipH="1" flipV="1">
                  <a:off x="3728" y="26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42" name="Line 217"/>
                <p:cNvSpPr>
                  <a:spLocks noChangeShapeType="1"/>
                </p:cNvSpPr>
                <p:nvPr/>
              </p:nvSpPr>
              <p:spPr bwMode="auto">
                <a:xfrm flipV="1">
                  <a:off x="3824" y="26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43" name="Line 218"/>
                <p:cNvSpPr>
                  <a:spLocks noChangeShapeType="1"/>
                </p:cNvSpPr>
                <p:nvPr/>
              </p:nvSpPr>
              <p:spPr bwMode="auto">
                <a:xfrm flipH="1" flipV="1">
                  <a:off x="3921" y="26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44" name="Line 219"/>
                <p:cNvSpPr>
                  <a:spLocks noChangeShapeType="1"/>
                </p:cNvSpPr>
                <p:nvPr/>
              </p:nvSpPr>
              <p:spPr bwMode="auto">
                <a:xfrm flipV="1">
                  <a:off x="4018" y="26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45" name="Line 220"/>
                <p:cNvSpPr>
                  <a:spLocks noChangeShapeType="1"/>
                </p:cNvSpPr>
                <p:nvPr/>
              </p:nvSpPr>
              <p:spPr bwMode="auto">
                <a:xfrm flipH="1" flipV="1">
                  <a:off x="4212" y="26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46" name="Line 221"/>
                <p:cNvSpPr>
                  <a:spLocks noChangeShapeType="1"/>
                </p:cNvSpPr>
                <p:nvPr/>
              </p:nvSpPr>
              <p:spPr bwMode="auto">
                <a:xfrm flipV="1">
                  <a:off x="4308" y="26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47" name="Line 222"/>
                <p:cNvSpPr>
                  <a:spLocks noChangeShapeType="1"/>
                </p:cNvSpPr>
                <p:nvPr/>
              </p:nvSpPr>
              <p:spPr bwMode="auto">
                <a:xfrm flipH="1" flipV="1">
                  <a:off x="4405" y="26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48" name="Line 223"/>
                <p:cNvSpPr>
                  <a:spLocks noChangeShapeType="1"/>
                </p:cNvSpPr>
                <p:nvPr/>
              </p:nvSpPr>
              <p:spPr bwMode="auto">
                <a:xfrm flipV="1">
                  <a:off x="4502" y="26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49" name="Line 224"/>
                <p:cNvSpPr>
                  <a:spLocks noChangeShapeType="1"/>
                </p:cNvSpPr>
                <p:nvPr/>
              </p:nvSpPr>
              <p:spPr bwMode="auto">
                <a:xfrm flipH="1" flipV="1">
                  <a:off x="4599" y="26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50" name="Line 225"/>
                <p:cNvSpPr>
                  <a:spLocks noChangeShapeType="1"/>
                </p:cNvSpPr>
                <p:nvPr/>
              </p:nvSpPr>
              <p:spPr bwMode="auto">
                <a:xfrm flipV="1">
                  <a:off x="4695" y="26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51" name="Line 226"/>
                <p:cNvSpPr>
                  <a:spLocks noChangeShapeType="1"/>
                </p:cNvSpPr>
                <p:nvPr/>
              </p:nvSpPr>
              <p:spPr bwMode="auto">
                <a:xfrm flipH="1" flipV="1">
                  <a:off x="4792" y="26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52" name="Line 227"/>
                <p:cNvSpPr>
                  <a:spLocks noChangeShapeType="1"/>
                </p:cNvSpPr>
                <p:nvPr/>
              </p:nvSpPr>
              <p:spPr bwMode="auto">
                <a:xfrm flipV="1">
                  <a:off x="4889" y="2644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53" name="Line 230"/>
                <p:cNvSpPr>
                  <a:spLocks noChangeShapeType="1"/>
                </p:cNvSpPr>
                <p:nvPr/>
              </p:nvSpPr>
              <p:spPr bwMode="auto">
                <a:xfrm flipH="1" flipV="1">
                  <a:off x="3147" y="2644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54" name="Line 234"/>
                <p:cNvSpPr>
                  <a:spLocks noChangeShapeType="1"/>
                </p:cNvSpPr>
                <p:nvPr/>
              </p:nvSpPr>
              <p:spPr bwMode="auto">
                <a:xfrm flipV="1">
                  <a:off x="3328" y="2579"/>
                  <a:ext cx="0" cy="72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55" name="Line 235"/>
                <p:cNvSpPr>
                  <a:spLocks noChangeShapeType="1"/>
                </p:cNvSpPr>
                <p:nvPr/>
              </p:nvSpPr>
              <p:spPr bwMode="auto">
                <a:xfrm flipV="1">
                  <a:off x="3353" y="2578"/>
                  <a:ext cx="0" cy="72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56" name="Oval 237"/>
                <p:cNvSpPr>
                  <a:spLocks noChangeArrowheads="1"/>
                </p:cNvSpPr>
                <p:nvPr/>
              </p:nvSpPr>
              <p:spPr bwMode="auto">
                <a:xfrm>
                  <a:off x="3315" y="2510"/>
                  <a:ext cx="48" cy="58"/>
                </a:xfrm>
                <a:prstGeom prst="ellipse">
                  <a:avLst/>
                </a:prstGeom>
                <a:solidFill>
                  <a:srgbClr val="FFFFFF"/>
                </a:solidFill>
                <a:ln w="22225">
                  <a:solidFill>
                    <a:srgbClr val="FF66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57" name="Oval 238"/>
                <p:cNvSpPr>
                  <a:spLocks noChangeArrowheads="1"/>
                </p:cNvSpPr>
                <p:nvPr/>
              </p:nvSpPr>
              <p:spPr bwMode="auto">
                <a:xfrm>
                  <a:off x="3211" y="2654"/>
                  <a:ext cx="64" cy="70"/>
                </a:xfrm>
                <a:prstGeom prst="ellipse">
                  <a:avLst/>
                </a:prstGeom>
                <a:solidFill>
                  <a:srgbClr val="FFFFFF"/>
                </a:solidFill>
                <a:ln w="222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58" name="Oval 236"/>
                <p:cNvSpPr>
                  <a:spLocks noChangeArrowheads="1"/>
                </p:cNvSpPr>
                <p:nvPr/>
              </p:nvSpPr>
              <p:spPr bwMode="auto">
                <a:xfrm>
                  <a:off x="3218" y="2661"/>
                  <a:ext cx="48" cy="58"/>
                </a:xfrm>
                <a:prstGeom prst="ellipse">
                  <a:avLst/>
                </a:prstGeom>
                <a:solidFill>
                  <a:srgbClr val="FFFFFF"/>
                </a:solidFill>
                <a:ln w="22225">
                  <a:solidFill>
                    <a:srgbClr val="FF66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59" name="Line 239"/>
                <p:cNvSpPr>
                  <a:spLocks noChangeShapeType="1"/>
                </p:cNvSpPr>
                <p:nvPr/>
              </p:nvSpPr>
              <p:spPr bwMode="auto">
                <a:xfrm flipH="1">
                  <a:off x="4115" y="2644"/>
                  <a:ext cx="96" cy="0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60" name="Line 240"/>
                <p:cNvSpPr>
                  <a:spLocks noChangeShapeType="1"/>
                </p:cNvSpPr>
                <p:nvPr/>
              </p:nvSpPr>
              <p:spPr bwMode="auto">
                <a:xfrm flipH="1">
                  <a:off x="4115" y="2668"/>
                  <a:ext cx="96" cy="0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</p:grpSp>
          <p:sp>
            <p:nvSpPr>
              <p:cNvPr id="182293" name="Text Box 250"/>
              <p:cNvSpPr txBox="1">
                <a:spLocks noChangeArrowheads="1"/>
              </p:cNvSpPr>
              <p:nvPr/>
            </p:nvSpPr>
            <p:spPr bwMode="auto">
              <a:xfrm>
                <a:off x="5186363" y="4695825"/>
                <a:ext cx="1906933" cy="307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GB" sz="900">
                    <a:solidFill>
                      <a:srgbClr val="666666"/>
                    </a:solidFill>
                  </a:rPr>
                  <a:t>fatty acid methyl esters</a:t>
                </a:r>
              </a:p>
            </p:txBody>
          </p:sp>
          <p:grpSp>
            <p:nvGrpSpPr>
              <p:cNvPr id="182294" name="Group 283"/>
              <p:cNvGrpSpPr>
                <a:grpSpLocks/>
              </p:cNvGrpSpPr>
              <p:nvPr/>
            </p:nvGrpSpPr>
            <p:grpSpPr bwMode="auto">
              <a:xfrm>
                <a:off x="4802188" y="3775075"/>
                <a:ext cx="2917825" cy="339725"/>
                <a:chOff x="2977" y="2437"/>
                <a:chExt cx="1838" cy="214"/>
              </a:xfrm>
            </p:grpSpPr>
            <p:sp>
              <p:nvSpPr>
                <p:cNvPr id="182310" name="Line 254"/>
                <p:cNvSpPr>
                  <a:spLocks noChangeShapeType="1"/>
                </p:cNvSpPr>
                <p:nvPr/>
              </p:nvSpPr>
              <p:spPr bwMode="auto">
                <a:xfrm flipV="1">
                  <a:off x="3074" y="2571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11" name="Line 255"/>
                <p:cNvSpPr>
                  <a:spLocks noChangeShapeType="1"/>
                </p:cNvSpPr>
                <p:nvPr/>
              </p:nvSpPr>
              <p:spPr bwMode="auto">
                <a:xfrm flipH="1" flipV="1">
                  <a:off x="3171" y="2571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12" name="Line 256"/>
                <p:cNvSpPr>
                  <a:spLocks noChangeShapeType="1"/>
                </p:cNvSpPr>
                <p:nvPr/>
              </p:nvSpPr>
              <p:spPr bwMode="auto">
                <a:xfrm flipV="1">
                  <a:off x="3267" y="2571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13" name="Line 257"/>
                <p:cNvSpPr>
                  <a:spLocks noChangeShapeType="1"/>
                </p:cNvSpPr>
                <p:nvPr/>
              </p:nvSpPr>
              <p:spPr bwMode="auto">
                <a:xfrm flipH="1" flipV="1">
                  <a:off x="3364" y="2571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14" name="Line 258"/>
                <p:cNvSpPr>
                  <a:spLocks noChangeShapeType="1"/>
                </p:cNvSpPr>
                <p:nvPr/>
              </p:nvSpPr>
              <p:spPr bwMode="auto">
                <a:xfrm flipV="1">
                  <a:off x="3461" y="2571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15" name="Line 259"/>
                <p:cNvSpPr>
                  <a:spLocks noChangeShapeType="1"/>
                </p:cNvSpPr>
                <p:nvPr/>
              </p:nvSpPr>
              <p:spPr bwMode="auto">
                <a:xfrm flipH="1" flipV="1">
                  <a:off x="3558" y="2571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16" name="Line 260"/>
                <p:cNvSpPr>
                  <a:spLocks noChangeShapeType="1"/>
                </p:cNvSpPr>
                <p:nvPr/>
              </p:nvSpPr>
              <p:spPr bwMode="auto">
                <a:xfrm flipV="1">
                  <a:off x="3654" y="2571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17" name="Line 261"/>
                <p:cNvSpPr>
                  <a:spLocks noChangeShapeType="1"/>
                </p:cNvSpPr>
                <p:nvPr/>
              </p:nvSpPr>
              <p:spPr bwMode="auto">
                <a:xfrm flipH="1" flipV="1">
                  <a:off x="3751" y="2571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18" name="Line 262"/>
                <p:cNvSpPr>
                  <a:spLocks noChangeShapeType="1"/>
                </p:cNvSpPr>
                <p:nvPr/>
              </p:nvSpPr>
              <p:spPr bwMode="auto">
                <a:xfrm flipV="1">
                  <a:off x="3848" y="2571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19" name="Line 263"/>
                <p:cNvSpPr>
                  <a:spLocks noChangeShapeType="1"/>
                </p:cNvSpPr>
                <p:nvPr/>
              </p:nvSpPr>
              <p:spPr bwMode="auto">
                <a:xfrm flipH="1" flipV="1">
                  <a:off x="4042" y="2571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20" name="Line 264"/>
                <p:cNvSpPr>
                  <a:spLocks noChangeShapeType="1"/>
                </p:cNvSpPr>
                <p:nvPr/>
              </p:nvSpPr>
              <p:spPr bwMode="auto">
                <a:xfrm flipV="1">
                  <a:off x="4428" y="2571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21" name="Line 265"/>
                <p:cNvSpPr>
                  <a:spLocks noChangeShapeType="1"/>
                </p:cNvSpPr>
                <p:nvPr/>
              </p:nvSpPr>
              <p:spPr bwMode="auto">
                <a:xfrm flipH="1" flipV="1">
                  <a:off x="4525" y="2571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22" name="Line 266"/>
                <p:cNvSpPr>
                  <a:spLocks noChangeShapeType="1"/>
                </p:cNvSpPr>
                <p:nvPr/>
              </p:nvSpPr>
              <p:spPr bwMode="auto">
                <a:xfrm flipV="1">
                  <a:off x="4622" y="2571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23" name="Line 267"/>
                <p:cNvSpPr>
                  <a:spLocks noChangeShapeType="1"/>
                </p:cNvSpPr>
                <p:nvPr/>
              </p:nvSpPr>
              <p:spPr bwMode="auto">
                <a:xfrm flipH="1" flipV="1">
                  <a:off x="4719" y="2571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24" name="Line 271"/>
                <p:cNvSpPr>
                  <a:spLocks noChangeShapeType="1"/>
                </p:cNvSpPr>
                <p:nvPr/>
              </p:nvSpPr>
              <p:spPr bwMode="auto">
                <a:xfrm flipH="1" flipV="1">
                  <a:off x="2977" y="2571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25" name="Line 272"/>
                <p:cNvSpPr>
                  <a:spLocks noChangeShapeType="1"/>
                </p:cNvSpPr>
                <p:nvPr/>
              </p:nvSpPr>
              <p:spPr bwMode="auto">
                <a:xfrm flipV="1">
                  <a:off x="3158" y="2506"/>
                  <a:ext cx="0" cy="72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26" name="Line 273"/>
                <p:cNvSpPr>
                  <a:spLocks noChangeShapeType="1"/>
                </p:cNvSpPr>
                <p:nvPr/>
              </p:nvSpPr>
              <p:spPr bwMode="auto">
                <a:xfrm flipV="1">
                  <a:off x="3183" y="2505"/>
                  <a:ext cx="0" cy="72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27" name="Oval 274"/>
                <p:cNvSpPr>
                  <a:spLocks noChangeArrowheads="1"/>
                </p:cNvSpPr>
                <p:nvPr/>
              </p:nvSpPr>
              <p:spPr bwMode="auto">
                <a:xfrm>
                  <a:off x="3145" y="2437"/>
                  <a:ext cx="48" cy="58"/>
                </a:xfrm>
                <a:prstGeom prst="ellipse">
                  <a:avLst/>
                </a:prstGeom>
                <a:solidFill>
                  <a:srgbClr val="FFFFFF"/>
                </a:solidFill>
                <a:ln w="22225">
                  <a:solidFill>
                    <a:srgbClr val="FF66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28" name="Oval 275"/>
                <p:cNvSpPr>
                  <a:spLocks noChangeArrowheads="1"/>
                </p:cNvSpPr>
                <p:nvPr/>
              </p:nvSpPr>
              <p:spPr bwMode="auto">
                <a:xfrm>
                  <a:off x="3041" y="2581"/>
                  <a:ext cx="64" cy="70"/>
                </a:xfrm>
                <a:prstGeom prst="ellipse">
                  <a:avLst/>
                </a:prstGeom>
                <a:solidFill>
                  <a:srgbClr val="FFFFFF"/>
                </a:solidFill>
                <a:ln w="222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29" name="Oval 276"/>
                <p:cNvSpPr>
                  <a:spLocks noChangeArrowheads="1"/>
                </p:cNvSpPr>
                <p:nvPr/>
              </p:nvSpPr>
              <p:spPr bwMode="auto">
                <a:xfrm>
                  <a:off x="3048" y="2588"/>
                  <a:ext cx="48" cy="58"/>
                </a:xfrm>
                <a:prstGeom prst="ellipse">
                  <a:avLst/>
                </a:prstGeom>
                <a:solidFill>
                  <a:srgbClr val="FFFFFF"/>
                </a:solidFill>
                <a:ln w="22225">
                  <a:solidFill>
                    <a:srgbClr val="FF66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30" name="Line 277"/>
                <p:cNvSpPr>
                  <a:spLocks noChangeShapeType="1"/>
                </p:cNvSpPr>
                <p:nvPr/>
              </p:nvSpPr>
              <p:spPr bwMode="auto">
                <a:xfrm flipH="1">
                  <a:off x="3945" y="2571"/>
                  <a:ext cx="96" cy="0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31" name="Line 278"/>
                <p:cNvSpPr>
                  <a:spLocks noChangeShapeType="1"/>
                </p:cNvSpPr>
                <p:nvPr/>
              </p:nvSpPr>
              <p:spPr bwMode="auto">
                <a:xfrm flipH="1">
                  <a:off x="3945" y="2595"/>
                  <a:ext cx="96" cy="0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32" name="Line 279"/>
                <p:cNvSpPr>
                  <a:spLocks noChangeShapeType="1"/>
                </p:cNvSpPr>
                <p:nvPr/>
              </p:nvSpPr>
              <p:spPr bwMode="auto">
                <a:xfrm flipV="1">
                  <a:off x="4137" y="2571"/>
                  <a:ext cx="97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33" name="Line 280"/>
                <p:cNvSpPr>
                  <a:spLocks noChangeShapeType="1"/>
                </p:cNvSpPr>
                <p:nvPr/>
              </p:nvSpPr>
              <p:spPr bwMode="auto">
                <a:xfrm flipH="1" flipV="1">
                  <a:off x="4331" y="2571"/>
                  <a:ext cx="96" cy="48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34" name="Line 281"/>
                <p:cNvSpPr>
                  <a:spLocks noChangeShapeType="1"/>
                </p:cNvSpPr>
                <p:nvPr/>
              </p:nvSpPr>
              <p:spPr bwMode="auto">
                <a:xfrm flipH="1">
                  <a:off x="4234" y="2571"/>
                  <a:ext cx="96" cy="0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  <p:sp>
              <p:nvSpPr>
                <p:cNvPr id="182335" name="Line 282"/>
                <p:cNvSpPr>
                  <a:spLocks noChangeShapeType="1"/>
                </p:cNvSpPr>
                <p:nvPr/>
              </p:nvSpPr>
              <p:spPr bwMode="auto">
                <a:xfrm flipH="1">
                  <a:off x="4234" y="2595"/>
                  <a:ext cx="96" cy="0"/>
                </a:xfrm>
                <a:prstGeom prst="line">
                  <a:avLst/>
                </a:prstGeom>
                <a:noFill/>
                <a:ln w="12700">
                  <a:solidFill>
                    <a:srgbClr val="333333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350">
                    <a:solidFill>
                      <a:srgbClr val="666666"/>
                    </a:solidFill>
                  </a:endParaRPr>
                </a:p>
              </p:txBody>
            </p:sp>
          </p:grpSp>
          <p:sp>
            <p:nvSpPr>
              <p:cNvPr id="2" name="Oval 1"/>
              <p:cNvSpPr/>
              <p:nvPr/>
            </p:nvSpPr>
            <p:spPr>
              <a:xfrm>
                <a:off x="4745038" y="3606801"/>
                <a:ext cx="730250" cy="660400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i-FI" sz="1350">
                  <a:solidFill>
                    <a:srgbClr val="FFFFFF"/>
                  </a:solidFill>
                </a:endParaRPr>
              </a:p>
            </p:txBody>
          </p:sp>
          <p:sp>
            <p:nvSpPr>
              <p:cNvPr id="155" name="Oval 154"/>
              <p:cNvSpPr/>
              <p:nvPr/>
            </p:nvSpPr>
            <p:spPr>
              <a:xfrm>
                <a:off x="6278563" y="3643312"/>
                <a:ext cx="730250" cy="660400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i-FI" sz="135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9" name="Rectangle 8"/>
          <p:cNvSpPr/>
          <p:nvPr/>
        </p:nvSpPr>
        <p:spPr>
          <a:xfrm>
            <a:off x="1164886" y="3608140"/>
            <a:ext cx="6031479" cy="7463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56247" lvl="1" indent="217885" eaLnBrk="0" hangingPunct="0">
              <a:spcBef>
                <a:spcPts val="450"/>
              </a:spcBef>
              <a:buClr>
                <a:srgbClr val="66DD00"/>
              </a:buClr>
              <a:buFontTx/>
              <a:buChar char="•"/>
            </a:pPr>
            <a:r>
              <a:rPr lang="en-GB" sz="750" kern="0" dirty="0" err="1" smtClean="0">
                <a:solidFill>
                  <a:srgbClr val="002060"/>
                </a:solidFill>
                <a:ea typeface="ＭＳ Ｐゴシック"/>
              </a:rPr>
              <a:t>Valmistettu</a:t>
            </a:r>
            <a:r>
              <a:rPr lang="en-GB" sz="750" kern="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en-GB" sz="750" kern="0" dirty="0" err="1" smtClean="0">
                <a:solidFill>
                  <a:srgbClr val="002060"/>
                </a:solidFill>
                <a:ea typeface="ＭＳ Ｐゴシック"/>
              </a:rPr>
              <a:t>kasviöljystä</a:t>
            </a:r>
            <a:r>
              <a:rPr lang="en-GB" sz="750" kern="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en-GB" sz="750" kern="0" dirty="0" err="1" smtClean="0">
                <a:solidFill>
                  <a:srgbClr val="002060"/>
                </a:solidFill>
                <a:ea typeface="ＭＳ Ｐゴシック"/>
              </a:rPr>
              <a:t>ja</a:t>
            </a:r>
            <a:r>
              <a:rPr lang="en-GB" sz="750" kern="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en-GB" sz="750" kern="0" dirty="0" err="1" smtClean="0">
                <a:solidFill>
                  <a:srgbClr val="002060"/>
                </a:solidFill>
                <a:ea typeface="ＭＳ Ｐゴシック"/>
              </a:rPr>
              <a:t>jäterasvasta</a:t>
            </a:r>
            <a:endParaRPr lang="en-GB" sz="750" kern="0" dirty="0">
              <a:solidFill>
                <a:srgbClr val="002060"/>
              </a:solidFill>
              <a:ea typeface="ＭＳ Ｐゴシック"/>
            </a:endParaRPr>
          </a:p>
          <a:p>
            <a:pPr marL="2356247" lvl="1" indent="217885" eaLnBrk="0" hangingPunct="0">
              <a:spcBef>
                <a:spcPts val="450"/>
              </a:spcBef>
              <a:buClr>
                <a:srgbClr val="66DD00"/>
              </a:buClr>
              <a:buFontTx/>
              <a:buChar char="•"/>
            </a:pPr>
            <a:r>
              <a:rPr lang="en-US" sz="750" kern="0" dirty="0" err="1" smtClean="0">
                <a:solidFill>
                  <a:srgbClr val="002060"/>
                </a:solidFill>
                <a:ea typeface="ＭＳ Ｐゴシック"/>
              </a:rPr>
              <a:t>Kemiallisesti</a:t>
            </a:r>
            <a:r>
              <a:rPr lang="en-US" sz="750" kern="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en-US" sz="750" kern="0" dirty="0" err="1" smtClean="0">
                <a:solidFill>
                  <a:srgbClr val="002060"/>
                </a:solidFill>
                <a:ea typeface="ＭＳ Ｐゴシック"/>
              </a:rPr>
              <a:t>samanlaista</a:t>
            </a:r>
            <a:r>
              <a:rPr lang="en-US" sz="750" kern="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en-US" sz="750" kern="0" dirty="0" err="1" smtClean="0">
                <a:solidFill>
                  <a:srgbClr val="002060"/>
                </a:solidFill>
                <a:ea typeface="ＭＳ Ｐゴシック"/>
              </a:rPr>
              <a:t>kuin</a:t>
            </a:r>
            <a:r>
              <a:rPr lang="en-US" sz="750" kern="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en-US" sz="750" kern="0" dirty="0" err="1" smtClean="0">
                <a:solidFill>
                  <a:srgbClr val="002060"/>
                </a:solidFill>
                <a:ea typeface="ＭＳ Ｐゴシック"/>
              </a:rPr>
              <a:t>fossiilinen</a:t>
            </a:r>
            <a:r>
              <a:rPr lang="en-US" sz="750" kern="0" dirty="0" smtClean="0">
                <a:solidFill>
                  <a:srgbClr val="002060"/>
                </a:solidFill>
                <a:ea typeface="ＭＳ Ｐゴシック"/>
              </a:rPr>
              <a:t> diesel</a:t>
            </a:r>
            <a:endParaRPr lang="en-US" sz="750" kern="0" dirty="0">
              <a:solidFill>
                <a:srgbClr val="002060"/>
              </a:solidFill>
              <a:ea typeface="ＭＳ Ｐゴシック"/>
            </a:endParaRPr>
          </a:p>
          <a:p>
            <a:pPr marL="2356247" lvl="1" indent="217885" eaLnBrk="0" hangingPunct="0">
              <a:spcBef>
                <a:spcPts val="450"/>
              </a:spcBef>
              <a:buClr>
                <a:srgbClr val="66DD00"/>
              </a:buClr>
              <a:buFontTx/>
              <a:buChar char="•"/>
            </a:pPr>
            <a:r>
              <a:rPr lang="en-US" sz="750" kern="0" dirty="0">
                <a:solidFill>
                  <a:srgbClr val="002060"/>
                </a:solidFill>
                <a:ea typeface="ＭＳ Ｐゴシック"/>
              </a:rPr>
              <a:t>Drop-in </a:t>
            </a:r>
            <a:r>
              <a:rPr lang="en-US" sz="750" kern="0" dirty="0" err="1" smtClean="0">
                <a:solidFill>
                  <a:srgbClr val="002060"/>
                </a:solidFill>
                <a:ea typeface="ＭＳ Ｐゴシック"/>
              </a:rPr>
              <a:t>biopolttoaine</a:t>
            </a:r>
            <a:r>
              <a:rPr lang="en-US" sz="750" kern="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en-US" sz="750" kern="0" dirty="0" err="1" smtClean="0">
                <a:solidFill>
                  <a:srgbClr val="002060"/>
                </a:solidFill>
                <a:ea typeface="ＭＳ Ｐゴシック"/>
              </a:rPr>
              <a:t>dieselin</a:t>
            </a:r>
            <a:r>
              <a:rPr lang="en-US" sz="750" kern="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en-US" sz="750" kern="0" dirty="0" err="1" smtClean="0">
                <a:solidFill>
                  <a:srgbClr val="002060"/>
                </a:solidFill>
                <a:ea typeface="ＭＳ Ｐゴシック"/>
              </a:rPr>
              <a:t>tuotantoon</a:t>
            </a:r>
            <a:r>
              <a:rPr lang="en-US" sz="750" kern="0" dirty="0" smtClean="0">
                <a:solidFill>
                  <a:srgbClr val="002060"/>
                </a:solidFill>
                <a:ea typeface="ＭＳ Ｐゴシック"/>
              </a:rPr>
              <a:t> (0-100 </a:t>
            </a:r>
            <a:r>
              <a:rPr lang="en-US" sz="750" kern="0" dirty="0">
                <a:solidFill>
                  <a:srgbClr val="002060"/>
                </a:solidFill>
                <a:ea typeface="ＭＳ Ｐゴシック"/>
              </a:rPr>
              <a:t>%)</a:t>
            </a:r>
          </a:p>
          <a:p>
            <a:pPr marL="2356247" lvl="1" indent="217885" eaLnBrk="0" hangingPunct="0">
              <a:spcBef>
                <a:spcPts val="450"/>
              </a:spcBef>
              <a:buClr>
                <a:srgbClr val="66DD00"/>
              </a:buClr>
              <a:buFontTx/>
              <a:buChar char="•"/>
            </a:pPr>
            <a:r>
              <a:rPr lang="en-US" sz="750" kern="0" dirty="0" err="1" smtClean="0">
                <a:solidFill>
                  <a:srgbClr val="002060"/>
                </a:solidFill>
                <a:ea typeface="ＭＳ Ｐゴシック"/>
              </a:rPr>
              <a:t>Parantaa</a:t>
            </a:r>
            <a:r>
              <a:rPr lang="en-US" sz="750" kern="0" dirty="0" smtClean="0">
                <a:solidFill>
                  <a:srgbClr val="002060"/>
                </a:solidFill>
                <a:ea typeface="ＭＳ Ｐゴシック"/>
              </a:rPr>
              <a:t> diesel –</a:t>
            </a:r>
            <a:r>
              <a:rPr lang="en-US" sz="750" kern="0" dirty="0" err="1" smtClean="0">
                <a:solidFill>
                  <a:srgbClr val="002060"/>
                </a:solidFill>
                <a:ea typeface="ＭＳ Ｐゴシック"/>
              </a:rPr>
              <a:t>polttoaineen</a:t>
            </a:r>
            <a:r>
              <a:rPr lang="en-US" sz="750" kern="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en-US" sz="750" kern="0" dirty="0" err="1" smtClean="0">
                <a:solidFill>
                  <a:srgbClr val="002060"/>
                </a:solidFill>
                <a:ea typeface="ＭＳ Ｐゴシック"/>
              </a:rPr>
              <a:t>laatua</a:t>
            </a:r>
            <a:endParaRPr lang="en-US" sz="750" kern="0" dirty="0">
              <a:solidFill>
                <a:srgbClr val="002060"/>
              </a:solidFill>
              <a:ea typeface="ＭＳ Ｐゴシック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44800" y="244800"/>
            <a:ext cx="8654400" cy="427723"/>
          </a:xfrm>
        </p:spPr>
        <p:txBody>
          <a:bodyPr/>
          <a:lstStyle/>
          <a:p>
            <a:r>
              <a:rPr lang="en-US" dirty="0" err="1" smtClean="0">
                <a:solidFill>
                  <a:srgbClr val="001177"/>
                </a:solidFill>
              </a:rPr>
              <a:t>Nesteen</a:t>
            </a:r>
            <a:r>
              <a:rPr lang="en-US" dirty="0" smtClean="0">
                <a:solidFill>
                  <a:srgbClr val="001177"/>
                </a:solidFill>
              </a:rPr>
              <a:t> </a:t>
            </a:r>
            <a:r>
              <a:rPr lang="en-US" dirty="0" err="1" smtClean="0">
                <a:solidFill>
                  <a:srgbClr val="001177"/>
                </a:solidFill>
              </a:rPr>
              <a:t>kehittämä</a:t>
            </a:r>
            <a:r>
              <a:rPr lang="en-US" dirty="0" smtClean="0">
                <a:solidFill>
                  <a:srgbClr val="001177"/>
                </a:solidFill>
              </a:rPr>
              <a:t> ja </a:t>
            </a:r>
            <a:r>
              <a:rPr lang="en-US" dirty="0" err="1" smtClean="0">
                <a:solidFill>
                  <a:srgbClr val="001177"/>
                </a:solidFill>
              </a:rPr>
              <a:t>patentoima</a:t>
            </a:r>
            <a:r>
              <a:rPr lang="en-US" dirty="0" smtClean="0">
                <a:solidFill>
                  <a:srgbClr val="001177"/>
                </a:solidFill>
              </a:rPr>
              <a:t> </a:t>
            </a:r>
            <a:r>
              <a:rPr lang="en-US" dirty="0" err="1" smtClean="0">
                <a:solidFill>
                  <a:srgbClr val="001177"/>
                </a:solidFill>
              </a:rPr>
              <a:t>uusiutuva</a:t>
            </a:r>
            <a:r>
              <a:rPr lang="en-US" dirty="0" smtClean="0">
                <a:solidFill>
                  <a:srgbClr val="001177"/>
                </a:solidFill>
              </a:rPr>
              <a:t> diesel</a:t>
            </a:r>
            <a:endParaRPr lang="fi-FI" dirty="0">
              <a:solidFill>
                <a:srgbClr val="0011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831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n paikkamerkki 2"/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30" b="11730"/>
          <a:stretch>
            <a:fillRect/>
          </a:stretch>
        </p:blipFill>
        <p:spPr>
          <a:xfrm>
            <a:off x="227644" y="247793"/>
            <a:ext cx="8654400" cy="4415974"/>
          </a:xfrm>
        </p:spPr>
      </p:pic>
      <p:sp>
        <p:nvSpPr>
          <p:cNvPr id="8" name="Title 4"/>
          <p:cNvSpPr>
            <a:spLocks noGrp="1"/>
          </p:cNvSpPr>
          <p:nvPr>
            <p:ph type="title" idx="4294967295"/>
          </p:nvPr>
        </p:nvSpPr>
        <p:spPr>
          <a:xfrm>
            <a:off x="953477" y="715607"/>
            <a:ext cx="7049477" cy="685800"/>
          </a:xfrm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  <p:txBody>
          <a:bodyPr numCol="1">
            <a:normAutofit fontScale="90000"/>
          </a:bodyPr>
          <a:lstStyle/>
          <a:p>
            <a:pPr algn="ctr"/>
            <a:r>
              <a:rPr lang="fi-FI" altLang="fi-FI" dirty="0" smtClean="0">
                <a:solidFill>
                  <a:schemeClr val="bg1"/>
                </a:solidFill>
              </a:rPr>
              <a:t>Kaksi painavaa syytä uusiutuvan polttoainetuotannon kehittämiselle 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Oval 9"/>
          <p:cNvSpPr>
            <a:spLocks noChangeAspect="1"/>
          </p:cNvSpPr>
          <p:nvPr/>
        </p:nvSpPr>
        <p:spPr>
          <a:xfrm>
            <a:off x="5093599" y="1664607"/>
            <a:ext cx="2475460" cy="2367765"/>
          </a:xfrm>
          <a:prstGeom prst="ellipse">
            <a:avLst/>
          </a:prstGeom>
          <a:solidFill>
            <a:schemeClr val="bg1"/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>
            <a:spLocks noChangeAspect="1"/>
          </p:cNvSpPr>
          <p:nvPr/>
        </p:nvSpPr>
        <p:spPr>
          <a:xfrm>
            <a:off x="5093597" y="2313411"/>
            <a:ext cx="24754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2400" b="1" dirty="0" err="1" smtClean="0">
                <a:solidFill>
                  <a:schemeClr val="accent2"/>
                </a:solidFill>
                <a:latin typeface="Arial"/>
              </a:rPr>
              <a:t>Korkealaatuiset</a:t>
            </a:r>
            <a:endParaRPr lang="en-GB" sz="2400" b="1" dirty="0" smtClean="0">
              <a:solidFill>
                <a:schemeClr val="accent2"/>
              </a:solidFill>
              <a:latin typeface="Arial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2400" b="1" dirty="0">
                <a:solidFill>
                  <a:schemeClr val="accent2"/>
                </a:solidFill>
                <a:latin typeface="Arial"/>
              </a:rPr>
              <a:t>d</a:t>
            </a:r>
            <a:r>
              <a:rPr lang="en-GB" sz="2400" b="1" dirty="0" smtClean="0">
                <a:solidFill>
                  <a:schemeClr val="accent2"/>
                </a:solidFill>
                <a:latin typeface="Arial"/>
              </a:rPr>
              <a:t>rop in </a:t>
            </a:r>
            <a:r>
              <a:rPr lang="en-GB" sz="2400" b="1" dirty="0" err="1" smtClean="0">
                <a:solidFill>
                  <a:schemeClr val="accent2"/>
                </a:solidFill>
                <a:latin typeface="Arial"/>
              </a:rPr>
              <a:t>ratkaisut</a:t>
            </a:r>
            <a:endParaRPr lang="en-GB" sz="2400" b="1" dirty="0">
              <a:solidFill>
                <a:schemeClr val="accent2"/>
              </a:solidFill>
              <a:latin typeface="Arial"/>
            </a:endParaRPr>
          </a:p>
        </p:txBody>
      </p:sp>
      <p:sp>
        <p:nvSpPr>
          <p:cNvPr id="12" name="Oval 11"/>
          <p:cNvSpPr>
            <a:spLocks noChangeAspect="1"/>
          </p:cNvSpPr>
          <p:nvPr/>
        </p:nvSpPr>
        <p:spPr>
          <a:xfrm>
            <a:off x="1493199" y="1686909"/>
            <a:ext cx="2475460" cy="2367765"/>
          </a:xfrm>
          <a:prstGeom prst="ellipse">
            <a:avLst/>
          </a:prstGeom>
          <a:solidFill>
            <a:schemeClr val="bg1"/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>
            <a:spLocks noChangeAspect="1"/>
          </p:cNvSpPr>
          <p:nvPr/>
        </p:nvSpPr>
        <p:spPr>
          <a:xfrm>
            <a:off x="1493197" y="2398777"/>
            <a:ext cx="2475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2400" b="1" dirty="0" err="1" smtClean="0">
                <a:solidFill>
                  <a:schemeClr val="accent2"/>
                </a:solidFill>
                <a:latin typeface="Arial"/>
              </a:rPr>
              <a:t>Joustavuus</a:t>
            </a:r>
            <a:r>
              <a:rPr lang="en-GB" sz="2400" b="1" dirty="0" smtClean="0">
                <a:solidFill>
                  <a:schemeClr val="accent2"/>
                </a:solidFill>
                <a:latin typeface="Arial"/>
              </a:rPr>
              <a:t> </a:t>
            </a:r>
            <a:r>
              <a:rPr lang="en-GB" sz="2400" b="1" dirty="0" err="1" smtClean="0">
                <a:solidFill>
                  <a:schemeClr val="accent2"/>
                </a:solidFill>
                <a:latin typeface="Arial"/>
              </a:rPr>
              <a:t>raaka-aineissa</a:t>
            </a:r>
            <a:endParaRPr lang="en-GB" sz="2400" b="1" dirty="0">
              <a:solidFill>
                <a:schemeClr val="accent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06205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 smtClean="0"/>
              <a:t>Raaka-ainepohjan</a:t>
            </a:r>
            <a:r>
              <a:rPr lang="en-US" dirty="0" smtClean="0"/>
              <a:t> </a:t>
            </a:r>
            <a:r>
              <a:rPr lang="en-US" dirty="0" err="1" smtClean="0"/>
              <a:t>kasvattaminen</a:t>
            </a:r>
            <a:endParaRPr lang="en-US" dirty="0"/>
          </a:p>
        </p:txBody>
      </p:sp>
      <p:sp>
        <p:nvSpPr>
          <p:cNvPr id="10" name="TextBox 23"/>
          <p:cNvSpPr txBox="1">
            <a:spLocks noChangeArrowheads="1"/>
          </p:cNvSpPr>
          <p:nvPr/>
        </p:nvSpPr>
        <p:spPr bwMode="auto">
          <a:xfrm>
            <a:off x="322035" y="3485310"/>
            <a:ext cx="1735290" cy="871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pPr algn="ctr"/>
            <a:r>
              <a:rPr lang="en-US" sz="1200" dirty="0"/>
              <a:t>Waste animal fats, waste oils, residue and side streams</a:t>
            </a:r>
          </a:p>
        </p:txBody>
      </p:sp>
      <p:sp>
        <p:nvSpPr>
          <p:cNvPr id="11" name="TextBox 23"/>
          <p:cNvSpPr txBox="1">
            <a:spLocks noChangeArrowheads="1"/>
          </p:cNvSpPr>
          <p:nvPr/>
        </p:nvSpPr>
        <p:spPr bwMode="auto">
          <a:xfrm>
            <a:off x="2661821" y="3485310"/>
            <a:ext cx="1453409" cy="46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pPr algn="ctr"/>
            <a:r>
              <a:rPr lang="en-US" sz="1200" dirty="0"/>
              <a:t>Biological pathways</a:t>
            </a:r>
          </a:p>
        </p:txBody>
      </p:sp>
      <p:sp>
        <p:nvSpPr>
          <p:cNvPr id="21" name="TextBox 23"/>
          <p:cNvSpPr txBox="1">
            <a:spLocks noChangeArrowheads="1"/>
          </p:cNvSpPr>
          <p:nvPr/>
        </p:nvSpPr>
        <p:spPr bwMode="auto">
          <a:xfrm>
            <a:off x="4274440" y="3485310"/>
            <a:ext cx="1416347" cy="46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pPr algn="ctr"/>
            <a:r>
              <a:rPr lang="en-US" sz="1200" dirty="0"/>
              <a:t>Thermo-catalytic pathways</a:t>
            </a:r>
          </a:p>
        </p:txBody>
      </p:sp>
      <p:sp>
        <p:nvSpPr>
          <p:cNvPr id="22" name="TextBox 23"/>
          <p:cNvSpPr txBox="1">
            <a:spLocks noChangeArrowheads="1"/>
          </p:cNvSpPr>
          <p:nvPr/>
        </p:nvSpPr>
        <p:spPr bwMode="auto">
          <a:xfrm>
            <a:off x="5724331" y="3485310"/>
            <a:ext cx="1706630" cy="46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pPr algn="ctr"/>
            <a:r>
              <a:rPr lang="en-US" sz="1200" dirty="0"/>
              <a:t>Photo-</a:t>
            </a:r>
            <a:br>
              <a:rPr lang="en-US" sz="1200" dirty="0"/>
            </a:br>
            <a:r>
              <a:rPr lang="en-US" sz="1200" dirty="0"/>
              <a:t>synthesis</a:t>
            </a:r>
          </a:p>
        </p:txBody>
      </p:sp>
      <p:cxnSp>
        <p:nvCxnSpPr>
          <p:cNvPr id="23" name="Straight Connector 22"/>
          <p:cNvCxnSpPr/>
          <p:nvPr/>
        </p:nvCxnSpPr>
        <p:spPr>
          <a:xfrm flipH="1">
            <a:off x="2360639" y="1780862"/>
            <a:ext cx="3112" cy="2449434"/>
          </a:xfrm>
          <a:prstGeom prst="line">
            <a:avLst/>
          </a:prstGeom>
          <a:ln w="12700">
            <a:solidFill>
              <a:schemeClr val="accent1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244800" y="1321285"/>
            <a:ext cx="18897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/>
              <a:t>Lyhyellä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aikavälillä</a:t>
            </a:r>
            <a:endParaRPr lang="en-US" sz="14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2360639" y="1321284"/>
            <a:ext cx="53447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/>
              <a:t>Pitkällä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aikavälillä</a:t>
            </a:r>
            <a:endParaRPr lang="en-US" sz="1400" b="1" dirty="0"/>
          </a:p>
        </p:txBody>
      </p:sp>
      <p:sp>
        <p:nvSpPr>
          <p:cNvPr id="3" name="Oval 2"/>
          <p:cNvSpPr/>
          <p:nvPr/>
        </p:nvSpPr>
        <p:spPr>
          <a:xfrm>
            <a:off x="322035" y="1701526"/>
            <a:ext cx="1735290" cy="1735290"/>
          </a:xfrm>
          <a:prstGeom prst="ellipse">
            <a:avLst/>
          </a:prstGeom>
          <a:blipFill>
            <a:blip r:embed="rId3"/>
            <a:srcRect/>
            <a:stretch>
              <a:fillRect l="114" t="-37932" r="-1184" b="-13825"/>
            </a:stretch>
          </a:blipFill>
          <a:ln w="127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AutoShape 109"/>
          <p:cNvSpPr>
            <a:spLocks noChangeArrowheads="1"/>
          </p:cNvSpPr>
          <p:nvPr/>
        </p:nvSpPr>
        <p:spPr bwMode="auto">
          <a:xfrm>
            <a:off x="4273146" y="1701526"/>
            <a:ext cx="1418935" cy="1407602"/>
          </a:xfrm>
          <a:prstGeom prst="roundRect">
            <a:avLst>
              <a:gd name="adj" fmla="val 50000"/>
            </a:avLst>
          </a:prstGeom>
          <a:blipFill dpi="0" rotWithShape="1">
            <a:blip r:embed="rId4"/>
            <a:srcRect/>
            <a:stretch>
              <a:fillRect/>
            </a:stretch>
          </a:blipFill>
          <a:ln w="12700">
            <a:solidFill>
              <a:schemeClr val="accent1"/>
            </a:solidFill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/>
          <a:extLst/>
        </p:spPr>
        <p:txBody>
          <a:bodyPr tIns="90000" rIns="54000" anchor="b"/>
          <a:lstStyle/>
          <a:p>
            <a:pPr eaLnBrk="0" hangingPunct="0">
              <a:spcAft>
                <a:spcPct val="20000"/>
              </a:spcAft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4" name="AutoShape 108"/>
          <p:cNvSpPr>
            <a:spLocks noChangeArrowheads="1"/>
          </p:cNvSpPr>
          <p:nvPr/>
        </p:nvSpPr>
        <p:spPr bwMode="auto">
          <a:xfrm>
            <a:off x="5871191" y="1701526"/>
            <a:ext cx="1418829" cy="1407602"/>
          </a:xfrm>
          <a:prstGeom prst="roundRect">
            <a:avLst>
              <a:gd name="adj" fmla="val 50000"/>
            </a:avLst>
          </a:prstGeom>
          <a:blipFill dpi="0" rotWithShape="1">
            <a:blip r:embed="rId5"/>
            <a:srcRect/>
            <a:stretch>
              <a:fillRect l="-38188" r="-38188"/>
            </a:stretch>
          </a:blipFill>
          <a:ln w="12700">
            <a:solidFill>
              <a:schemeClr val="accent1"/>
            </a:solidFill>
            <a:round/>
            <a:headEnd/>
            <a:tailEnd/>
          </a:ln>
          <a:effectLst/>
          <a:extLst/>
        </p:spPr>
        <p:txBody>
          <a:bodyPr tIns="90000" rIns="54000"/>
          <a:lstStyle/>
          <a:p>
            <a:pPr eaLnBrk="0" hangingPunct="0">
              <a:spcAft>
                <a:spcPct val="200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5" name="AutoShape 108"/>
          <p:cNvSpPr>
            <a:spLocks noChangeArrowheads="1"/>
          </p:cNvSpPr>
          <p:nvPr/>
        </p:nvSpPr>
        <p:spPr bwMode="auto">
          <a:xfrm>
            <a:off x="2675207" y="1701526"/>
            <a:ext cx="1418829" cy="1407602"/>
          </a:xfrm>
          <a:prstGeom prst="roundRect">
            <a:avLst>
              <a:gd name="adj" fmla="val 50000"/>
            </a:avLst>
          </a:prstGeom>
          <a:blipFill dpi="0" rotWithShape="1">
            <a:blip r:embed="rId6"/>
            <a:srcRect/>
            <a:stretch>
              <a:fillRect l="16931" r="16931"/>
            </a:stretch>
          </a:blipFill>
          <a:ln w="12700">
            <a:solidFill>
              <a:schemeClr val="accent1"/>
            </a:solidFill>
            <a:round/>
            <a:headEnd/>
            <a:tailEnd/>
          </a:ln>
          <a:effectLst/>
          <a:extLst/>
        </p:spPr>
        <p:txBody>
          <a:bodyPr tIns="90000" rIns="54000"/>
          <a:lstStyle/>
          <a:p>
            <a:pPr eaLnBrk="0" hangingPunct="0">
              <a:spcAft>
                <a:spcPct val="200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6" name="TextBox 23"/>
          <p:cNvSpPr txBox="1">
            <a:spLocks noChangeArrowheads="1"/>
          </p:cNvSpPr>
          <p:nvPr/>
        </p:nvSpPr>
        <p:spPr bwMode="auto">
          <a:xfrm>
            <a:off x="7290020" y="3485310"/>
            <a:ext cx="1706630" cy="46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pPr algn="ctr"/>
            <a:r>
              <a:rPr lang="fi-FI" sz="1200" dirty="0" err="1" smtClean="0"/>
              <a:t>Fossil</a:t>
            </a:r>
            <a:r>
              <a:rPr lang="fi-FI" sz="1200" dirty="0" smtClean="0"/>
              <a:t> </a:t>
            </a:r>
            <a:r>
              <a:rPr lang="fi-FI" sz="1200" dirty="0" err="1" smtClean="0"/>
              <a:t>waste</a:t>
            </a:r>
            <a:r>
              <a:rPr lang="fi-FI" sz="1200" dirty="0" smtClean="0"/>
              <a:t> </a:t>
            </a:r>
            <a:r>
              <a:rPr lang="fi-FI" sz="1200" dirty="0" err="1" smtClean="0"/>
              <a:t>liquefaction</a:t>
            </a:r>
            <a:endParaRPr lang="en-US" sz="1200" dirty="0"/>
          </a:p>
        </p:txBody>
      </p:sp>
      <p:sp>
        <p:nvSpPr>
          <p:cNvPr id="4" name="Oval 3"/>
          <p:cNvSpPr/>
          <p:nvPr/>
        </p:nvSpPr>
        <p:spPr>
          <a:xfrm>
            <a:off x="7469130" y="1701526"/>
            <a:ext cx="1430215" cy="1407602"/>
          </a:xfrm>
          <a:prstGeom prst="ellipse">
            <a:avLst/>
          </a:prstGeom>
          <a:noFill/>
          <a:ln w="127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tIns="46800" rIns="108000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9130" y="1701526"/>
            <a:ext cx="1430215" cy="1402167"/>
          </a:xfrm>
          <a:prstGeom prst="ellipse">
            <a:avLst/>
          </a:prstGeom>
          <a:ln w="9525" cap="rnd">
            <a:solidFill>
              <a:schemeClr val="accent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693385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30" b="11730"/>
          <a:stretch/>
        </p:blipFill>
        <p:spPr>
          <a:prstGeom prst="rect">
            <a:avLst/>
          </a:prstGeom>
        </p:spPr>
      </p:pic>
      <p:sp>
        <p:nvSpPr>
          <p:cNvPr id="4" name="Teardrop 3"/>
          <p:cNvSpPr/>
          <p:nvPr/>
        </p:nvSpPr>
        <p:spPr>
          <a:xfrm>
            <a:off x="4374931" y="673851"/>
            <a:ext cx="3948532" cy="3732611"/>
          </a:xfrm>
          <a:prstGeom prst="teardrop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5" name="Title 3"/>
          <p:cNvSpPr txBox="1">
            <a:spLocks/>
          </p:cNvSpPr>
          <p:nvPr/>
        </p:nvSpPr>
        <p:spPr bwMode="auto">
          <a:xfrm>
            <a:off x="4508938" y="1596978"/>
            <a:ext cx="3814525" cy="1740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b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lvl="0" algn="ctr">
              <a:defRPr/>
            </a:pPr>
            <a:r>
              <a:rPr kumimoji="0" lang="fi-FI" sz="3200" b="0" i="0" u="none" strike="noStrike" kern="0" cap="none" spc="0" normalizeH="0" baseline="0" dirty="0" smtClean="0">
                <a:ln>
                  <a:noFill/>
                </a:ln>
                <a:solidFill>
                  <a:srgbClr val="001177"/>
                </a:solidFill>
                <a:effectLst/>
                <a:uLnTx/>
                <a:uFillTx/>
                <a:latin typeface="Arial"/>
                <a:ea typeface="ＭＳ Ｐゴシック"/>
              </a:rPr>
              <a:t>IPR</a:t>
            </a:r>
          </a:p>
          <a:p>
            <a:pPr lvl="0" algn="ctr">
              <a:defRPr/>
            </a:pPr>
            <a:r>
              <a:rPr lang="fi-FI" sz="3200" kern="0" dirty="0" smtClean="0">
                <a:solidFill>
                  <a:srgbClr val="001177"/>
                </a:solidFill>
                <a:latin typeface="Arial"/>
                <a:ea typeface="ＭＳ Ｐゴシック"/>
              </a:rPr>
              <a:t>strategia</a:t>
            </a:r>
            <a:endParaRPr kumimoji="0" lang="en-US" sz="3200" b="0" i="0" u="none" strike="noStrike" kern="0" cap="none" spc="0" normalizeH="0" baseline="0" dirty="0" smtClean="0">
              <a:ln>
                <a:noFill/>
              </a:ln>
              <a:solidFill>
                <a:srgbClr val="001177"/>
              </a:solidFill>
              <a:effectLst/>
              <a:uLnTx/>
              <a:uFillTx/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730206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6A534F4A-D8FC-41A1-B458-530E8E6BDC41}" type="slidenum">
              <a:rPr lang="en-GB" altLang="en-US" sz="1400" smtClean="0">
                <a:solidFill>
                  <a:srgbClr val="000000"/>
                </a:solidFill>
              </a:rPr>
              <a:pPr>
                <a:spcBef>
                  <a:spcPct val="0"/>
                </a:spcBef>
                <a:buFontTx/>
                <a:buNone/>
              </a:pPr>
              <a:t>25</a:t>
            </a:fld>
            <a:endParaRPr lang="en-GB" altLang="en-US" sz="1400" smtClean="0">
              <a:solidFill>
                <a:srgbClr val="000000"/>
              </a:solidFill>
            </a:endParaRPr>
          </a:p>
        </p:txBody>
      </p:sp>
      <p:sp>
        <p:nvSpPr>
          <p:cNvPr id="36867" name="Title 1"/>
          <p:cNvSpPr>
            <a:spLocks noGrp="1"/>
          </p:cNvSpPr>
          <p:nvPr>
            <p:ph type="title"/>
          </p:nvPr>
        </p:nvSpPr>
        <p:spPr>
          <a:xfrm>
            <a:off x="676275" y="265510"/>
            <a:ext cx="7697788" cy="685800"/>
          </a:xfrm>
        </p:spPr>
        <p:txBody>
          <a:bodyPr>
            <a:normAutofit fontScale="90000"/>
          </a:bodyPr>
          <a:lstStyle/>
          <a:p>
            <a:r>
              <a:rPr lang="fi-FI" altLang="en-US" sz="3200" dirty="0" smtClean="0">
                <a:solidFill>
                  <a:srgbClr val="001177"/>
                </a:solidFill>
              </a:rPr>
              <a:t>IPR s</a:t>
            </a:r>
            <a:r>
              <a:rPr lang="en-US" altLang="en-US" sz="3200" dirty="0" err="1" smtClean="0">
                <a:solidFill>
                  <a:srgbClr val="001177"/>
                </a:solidFill>
              </a:rPr>
              <a:t>trategian</a:t>
            </a:r>
            <a:r>
              <a:rPr lang="en-US" altLang="en-US" sz="3200" dirty="0" smtClean="0">
                <a:solidFill>
                  <a:srgbClr val="001177"/>
                </a:solidFill>
              </a:rPr>
              <a:t> </a:t>
            </a:r>
            <a:r>
              <a:rPr lang="en-US" altLang="en-US" sz="3200" dirty="0" err="1" smtClean="0">
                <a:solidFill>
                  <a:srgbClr val="001177"/>
                </a:solidFill>
              </a:rPr>
              <a:t>pitää</a:t>
            </a:r>
            <a:r>
              <a:rPr lang="en-US" altLang="en-US" sz="3200" dirty="0" smtClean="0">
                <a:solidFill>
                  <a:srgbClr val="001177"/>
                </a:solidFill>
              </a:rPr>
              <a:t> </a:t>
            </a:r>
            <a:r>
              <a:rPr lang="en-US" altLang="en-US" sz="3200" dirty="0" err="1" smtClean="0">
                <a:solidFill>
                  <a:srgbClr val="001177"/>
                </a:solidFill>
              </a:rPr>
              <a:t>tukea</a:t>
            </a:r>
            <a:r>
              <a:rPr lang="en-US" altLang="en-US" sz="3200" dirty="0" smtClean="0">
                <a:solidFill>
                  <a:srgbClr val="001177"/>
                </a:solidFill>
              </a:rPr>
              <a:t> </a:t>
            </a:r>
            <a:r>
              <a:rPr lang="en-US" altLang="en-US" sz="3200" dirty="0" err="1" smtClean="0">
                <a:solidFill>
                  <a:srgbClr val="001177"/>
                </a:solidFill>
              </a:rPr>
              <a:t>yrityksen</a:t>
            </a:r>
            <a:r>
              <a:rPr lang="en-US" altLang="en-US" sz="3200" dirty="0" smtClean="0">
                <a:solidFill>
                  <a:srgbClr val="001177"/>
                </a:solidFill>
              </a:rPr>
              <a:t> </a:t>
            </a:r>
            <a:r>
              <a:rPr lang="en-US" altLang="en-US" sz="3200" dirty="0" err="1" smtClean="0">
                <a:solidFill>
                  <a:srgbClr val="001177"/>
                </a:solidFill>
              </a:rPr>
              <a:t>tavoitteita</a:t>
            </a:r>
            <a:r>
              <a:rPr lang="en-US" altLang="en-US" sz="3200" dirty="0">
                <a:solidFill>
                  <a:srgbClr val="001177"/>
                </a:solidFill>
              </a:rPr>
              <a:t/>
            </a:r>
            <a:br>
              <a:rPr lang="en-US" altLang="en-US" sz="3200" dirty="0">
                <a:solidFill>
                  <a:srgbClr val="001177"/>
                </a:solidFill>
              </a:rPr>
            </a:br>
            <a:endParaRPr lang="fi-FI" altLang="en-US" sz="3200" dirty="0" smtClean="0">
              <a:solidFill>
                <a:srgbClr val="001177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055078"/>
            <a:ext cx="8569325" cy="3868614"/>
          </a:xfrm>
        </p:spPr>
        <p:txBody>
          <a:bodyPr>
            <a:normAutofit fontScale="25000" lnSpcReduction="20000"/>
          </a:bodyPr>
          <a:lstStyle/>
          <a:p>
            <a:pPr>
              <a:lnSpc>
                <a:spcPct val="170000"/>
              </a:lnSpc>
              <a:spcBef>
                <a:spcPts val="100"/>
              </a:spcBef>
            </a:pPr>
            <a:r>
              <a:rPr lang="en-GB" sz="4000" dirty="0" err="1" smtClean="0">
                <a:solidFill>
                  <a:srgbClr val="000000"/>
                </a:solidFill>
              </a:rPr>
              <a:t>Patenttisalkun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sisällön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tulee</a:t>
            </a:r>
            <a:r>
              <a:rPr lang="en-GB" sz="4000" dirty="0" smtClean="0">
                <a:solidFill>
                  <a:srgbClr val="000000"/>
                </a:solidFill>
              </a:rPr>
              <a:t> olla </a:t>
            </a:r>
            <a:r>
              <a:rPr lang="en-GB" sz="4000" dirty="0" err="1" smtClean="0">
                <a:solidFill>
                  <a:srgbClr val="000000"/>
                </a:solidFill>
              </a:rPr>
              <a:t>riittävä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ja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sen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pitää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kohdistua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tavoitelluille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tekniikan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alueille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yrityksen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strategian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mukaisesti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mahdollistaakseen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käytön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kasvun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välineenä</a:t>
            </a:r>
            <a:r>
              <a:rPr lang="en-GB" sz="4000" dirty="0" smtClean="0">
                <a:solidFill>
                  <a:srgbClr val="000000"/>
                </a:solidFill>
              </a:rPr>
              <a:t>.</a:t>
            </a:r>
          </a:p>
          <a:p>
            <a:pPr marL="0" indent="0">
              <a:lnSpc>
                <a:spcPct val="170000"/>
              </a:lnSpc>
              <a:spcBef>
                <a:spcPts val="100"/>
              </a:spcBef>
              <a:buNone/>
            </a:pPr>
            <a:endParaRPr lang="en-US" sz="4000" dirty="0" smtClean="0">
              <a:solidFill>
                <a:srgbClr val="000000"/>
              </a:solidFill>
            </a:endParaRPr>
          </a:p>
          <a:p>
            <a:pPr marL="190800" lvl="0">
              <a:lnSpc>
                <a:spcPct val="170000"/>
              </a:lnSpc>
              <a:spcBef>
                <a:spcPts val="100"/>
              </a:spcBef>
            </a:pPr>
            <a:r>
              <a:rPr lang="en-GB" sz="4000" dirty="0" err="1" smtClean="0">
                <a:solidFill>
                  <a:srgbClr val="000000"/>
                </a:solidFill>
              </a:rPr>
              <a:t>Brändi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ja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tuotteet</a:t>
            </a:r>
            <a:r>
              <a:rPr lang="en-GB" sz="4000" dirty="0" smtClean="0">
                <a:solidFill>
                  <a:srgbClr val="000000"/>
                </a:solidFill>
              </a:rPr>
              <a:t> on </a:t>
            </a:r>
            <a:r>
              <a:rPr lang="en-GB" sz="4000" dirty="0" err="1" smtClean="0">
                <a:solidFill>
                  <a:srgbClr val="000000"/>
                </a:solidFill>
              </a:rPr>
              <a:t>yleensä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tarpeen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suojata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tavaramerkein</a:t>
            </a:r>
            <a:r>
              <a:rPr lang="en-GB" sz="4000" dirty="0" smtClean="0">
                <a:solidFill>
                  <a:srgbClr val="000000"/>
                </a:solidFill>
              </a:rPr>
              <a:t>.</a:t>
            </a:r>
            <a:r>
              <a:rPr lang="en-GB" sz="4000" dirty="0">
                <a:solidFill>
                  <a:srgbClr val="000000"/>
                </a:solidFill>
              </a:rPr>
              <a:t/>
            </a:r>
            <a:br>
              <a:rPr lang="en-GB" sz="4000" dirty="0">
                <a:solidFill>
                  <a:srgbClr val="000000"/>
                </a:solidFill>
              </a:rPr>
            </a:br>
            <a:endParaRPr lang="en-GB" sz="4000" dirty="0" smtClean="0">
              <a:solidFill>
                <a:srgbClr val="000000"/>
              </a:solidFill>
            </a:endParaRPr>
          </a:p>
          <a:p>
            <a:pPr marL="190800" lvl="0">
              <a:lnSpc>
                <a:spcPct val="170000"/>
              </a:lnSpc>
              <a:spcBef>
                <a:spcPts val="100"/>
              </a:spcBef>
            </a:pPr>
            <a:r>
              <a:rPr lang="en-GB" sz="4000" dirty="0" err="1" smtClean="0">
                <a:solidFill>
                  <a:srgbClr val="000000"/>
                </a:solidFill>
              </a:rPr>
              <a:t>Erilaisten</a:t>
            </a:r>
            <a:r>
              <a:rPr lang="en-GB" sz="4000" dirty="0" smtClean="0">
                <a:solidFill>
                  <a:srgbClr val="000000"/>
                </a:solidFill>
              </a:rPr>
              <a:t> IPR </a:t>
            </a:r>
            <a:r>
              <a:rPr lang="en-GB" sz="4000" dirty="0" err="1" smtClean="0">
                <a:solidFill>
                  <a:srgbClr val="000000"/>
                </a:solidFill>
              </a:rPr>
              <a:t>suojamuotojen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käytössä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kannattaa</a:t>
            </a:r>
            <a:r>
              <a:rPr lang="en-GB" sz="4000" dirty="0" smtClean="0">
                <a:solidFill>
                  <a:srgbClr val="000000"/>
                </a:solidFill>
              </a:rPr>
              <a:t> olla </a:t>
            </a:r>
            <a:r>
              <a:rPr lang="en-GB" sz="4000" dirty="0" err="1" smtClean="0">
                <a:solidFill>
                  <a:srgbClr val="000000"/>
                </a:solidFill>
              </a:rPr>
              <a:t>innovatiivinen</a:t>
            </a:r>
            <a:r>
              <a:rPr lang="en-GB" sz="4000" dirty="0" smtClean="0">
                <a:solidFill>
                  <a:srgbClr val="000000"/>
                </a:solidFill>
              </a:rPr>
              <a:t>, </a:t>
            </a:r>
            <a:r>
              <a:rPr lang="en-GB" sz="4000" dirty="0" err="1" smtClean="0">
                <a:solidFill>
                  <a:srgbClr val="000000"/>
                </a:solidFill>
              </a:rPr>
              <a:t>kaikkea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ei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tarvitse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suojata</a:t>
            </a:r>
            <a:r>
              <a:rPr lang="en-GB" sz="4000" dirty="0" smtClean="0">
                <a:solidFill>
                  <a:srgbClr val="000000"/>
                </a:solidFill>
              </a:rPr>
              <a:t> </a:t>
            </a:r>
            <a:r>
              <a:rPr lang="en-GB" sz="4000" dirty="0" err="1" smtClean="0">
                <a:solidFill>
                  <a:srgbClr val="000000"/>
                </a:solidFill>
              </a:rPr>
              <a:t>patentilla</a:t>
            </a:r>
            <a:r>
              <a:rPr lang="en-GB" sz="4000" dirty="0" smtClean="0">
                <a:solidFill>
                  <a:srgbClr val="000000"/>
                </a:solidFill>
              </a:rPr>
              <a:t> tai </a:t>
            </a:r>
            <a:r>
              <a:rPr lang="en-GB" sz="4000" dirty="0" err="1" smtClean="0">
                <a:solidFill>
                  <a:srgbClr val="000000"/>
                </a:solidFill>
              </a:rPr>
              <a:t>tavaramerkillä</a:t>
            </a:r>
            <a:r>
              <a:rPr lang="en-GB" sz="4000" dirty="0" smtClean="0">
                <a:solidFill>
                  <a:srgbClr val="000000"/>
                </a:solidFill>
              </a:rPr>
              <a:t>.</a:t>
            </a:r>
            <a:br>
              <a:rPr lang="en-GB" sz="4000" dirty="0" smtClean="0">
                <a:solidFill>
                  <a:srgbClr val="000000"/>
                </a:solidFill>
              </a:rPr>
            </a:br>
            <a:endParaRPr lang="en-US" sz="4000" dirty="0">
              <a:solidFill>
                <a:srgbClr val="000000"/>
              </a:solidFill>
            </a:endParaRPr>
          </a:p>
          <a:p>
            <a:pPr marL="190800" lvl="0">
              <a:lnSpc>
                <a:spcPct val="170000"/>
              </a:lnSpc>
              <a:spcBef>
                <a:spcPts val="100"/>
              </a:spcBef>
            </a:pPr>
            <a:r>
              <a:rPr lang="en-US" sz="4000" dirty="0" err="1" smtClean="0">
                <a:solidFill>
                  <a:srgbClr val="000000"/>
                </a:solidFill>
              </a:rPr>
              <a:t>Suojattua</a:t>
            </a:r>
            <a:r>
              <a:rPr lang="en-US" sz="4000" dirty="0" smtClean="0">
                <a:solidFill>
                  <a:srgbClr val="000000"/>
                </a:solidFill>
              </a:rPr>
              <a:t> </a:t>
            </a:r>
            <a:r>
              <a:rPr lang="en-US" sz="4000" dirty="0" err="1" smtClean="0">
                <a:solidFill>
                  <a:srgbClr val="000000"/>
                </a:solidFill>
              </a:rPr>
              <a:t>teknologiaa</a:t>
            </a:r>
            <a:r>
              <a:rPr lang="en-US" sz="4000" dirty="0" smtClean="0">
                <a:solidFill>
                  <a:srgbClr val="000000"/>
                </a:solidFill>
              </a:rPr>
              <a:t> </a:t>
            </a:r>
            <a:r>
              <a:rPr lang="en-US" sz="4000" dirty="0" err="1" smtClean="0">
                <a:solidFill>
                  <a:srgbClr val="000000"/>
                </a:solidFill>
              </a:rPr>
              <a:t>pitää</a:t>
            </a:r>
            <a:r>
              <a:rPr lang="en-US" sz="4000" dirty="0" smtClean="0">
                <a:solidFill>
                  <a:srgbClr val="000000"/>
                </a:solidFill>
              </a:rPr>
              <a:t> </a:t>
            </a:r>
            <a:r>
              <a:rPr lang="en-US" sz="4000" dirty="0" err="1" smtClean="0">
                <a:solidFill>
                  <a:srgbClr val="000000"/>
                </a:solidFill>
              </a:rPr>
              <a:t>valvoa</a:t>
            </a:r>
            <a:r>
              <a:rPr lang="en-US" sz="4000" dirty="0" smtClean="0">
                <a:solidFill>
                  <a:srgbClr val="000000"/>
                </a:solidFill>
              </a:rPr>
              <a:t> ja </a:t>
            </a:r>
            <a:r>
              <a:rPr lang="en-US" sz="4000" dirty="0" err="1" smtClean="0">
                <a:solidFill>
                  <a:srgbClr val="000000"/>
                </a:solidFill>
              </a:rPr>
              <a:t>tarvittaessa</a:t>
            </a:r>
            <a:r>
              <a:rPr lang="en-US" sz="4000" dirty="0" smtClean="0">
                <a:solidFill>
                  <a:srgbClr val="000000"/>
                </a:solidFill>
              </a:rPr>
              <a:t> </a:t>
            </a:r>
            <a:r>
              <a:rPr lang="en-US" sz="4000" dirty="0" err="1" smtClean="0">
                <a:solidFill>
                  <a:srgbClr val="000000"/>
                </a:solidFill>
              </a:rPr>
              <a:t>puolustaa</a:t>
            </a:r>
            <a:r>
              <a:rPr lang="en-US" sz="4000" dirty="0" smtClean="0">
                <a:solidFill>
                  <a:srgbClr val="000000"/>
                </a:solidFill>
              </a:rPr>
              <a:t>. </a:t>
            </a:r>
            <a:r>
              <a:rPr lang="en-US" sz="4000" dirty="0" err="1" smtClean="0">
                <a:solidFill>
                  <a:srgbClr val="000000"/>
                </a:solidFill>
              </a:rPr>
              <a:t>Toiminta</a:t>
            </a:r>
            <a:r>
              <a:rPr lang="en-US" sz="4000" dirty="0" smtClean="0">
                <a:solidFill>
                  <a:srgbClr val="000000"/>
                </a:solidFill>
              </a:rPr>
              <a:t> </a:t>
            </a:r>
            <a:r>
              <a:rPr lang="en-US" sz="4000" dirty="0" err="1" smtClean="0">
                <a:solidFill>
                  <a:srgbClr val="000000"/>
                </a:solidFill>
              </a:rPr>
              <a:t>voi</a:t>
            </a:r>
            <a:r>
              <a:rPr lang="en-US" sz="4000" dirty="0" smtClean="0">
                <a:solidFill>
                  <a:srgbClr val="000000"/>
                </a:solidFill>
              </a:rPr>
              <a:t> olla (pro- tai re-)</a:t>
            </a:r>
            <a:r>
              <a:rPr lang="en-US" sz="4000" dirty="0" err="1" smtClean="0">
                <a:solidFill>
                  <a:srgbClr val="000000"/>
                </a:solidFill>
              </a:rPr>
              <a:t>aktiivista</a:t>
            </a:r>
            <a:r>
              <a:rPr lang="en-US" sz="4000" dirty="0" smtClean="0">
                <a:solidFill>
                  <a:srgbClr val="000000"/>
                </a:solidFill>
              </a:rPr>
              <a:t> tai </a:t>
            </a:r>
            <a:r>
              <a:rPr lang="en-US" sz="4000" dirty="0" err="1" smtClean="0">
                <a:solidFill>
                  <a:srgbClr val="000000"/>
                </a:solidFill>
              </a:rPr>
              <a:t>passiivista</a:t>
            </a:r>
            <a:r>
              <a:rPr lang="en-US" sz="4000" dirty="0" smtClean="0">
                <a:solidFill>
                  <a:srgbClr val="000000"/>
                </a:solidFill>
              </a:rPr>
              <a:t> </a:t>
            </a:r>
            <a:r>
              <a:rPr lang="en-US" sz="4000" dirty="0" err="1" smtClean="0">
                <a:solidFill>
                  <a:srgbClr val="000000"/>
                </a:solidFill>
              </a:rPr>
              <a:t>suojan</a:t>
            </a:r>
            <a:r>
              <a:rPr lang="en-US" sz="4000" dirty="0" smtClean="0">
                <a:solidFill>
                  <a:srgbClr val="000000"/>
                </a:solidFill>
              </a:rPr>
              <a:t> </a:t>
            </a:r>
            <a:r>
              <a:rPr lang="en-US" sz="4000" dirty="0" err="1" smtClean="0">
                <a:solidFill>
                  <a:srgbClr val="000000"/>
                </a:solidFill>
              </a:rPr>
              <a:t>kohteen</a:t>
            </a:r>
            <a:r>
              <a:rPr lang="en-US" sz="4000" dirty="0" smtClean="0">
                <a:solidFill>
                  <a:srgbClr val="000000"/>
                </a:solidFill>
              </a:rPr>
              <a:t> </a:t>
            </a:r>
            <a:r>
              <a:rPr lang="en-US" sz="4000" dirty="0" err="1" smtClean="0">
                <a:solidFill>
                  <a:srgbClr val="000000"/>
                </a:solidFill>
              </a:rPr>
              <a:t>merkityksestä</a:t>
            </a:r>
            <a:r>
              <a:rPr lang="en-US" sz="4000" dirty="0" smtClean="0">
                <a:solidFill>
                  <a:srgbClr val="000000"/>
                </a:solidFill>
              </a:rPr>
              <a:t> </a:t>
            </a:r>
            <a:r>
              <a:rPr lang="en-US" sz="4000" dirty="0" err="1" smtClean="0">
                <a:solidFill>
                  <a:srgbClr val="000000"/>
                </a:solidFill>
              </a:rPr>
              <a:t>riippuen</a:t>
            </a:r>
            <a:r>
              <a:rPr lang="en-US" sz="4000" dirty="0" smtClean="0">
                <a:solidFill>
                  <a:srgbClr val="000000"/>
                </a:solidFill>
              </a:rPr>
              <a:t>.</a:t>
            </a:r>
          </a:p>
          <a:p>
            <a:pPr marL="190800">
              <a:lnSpc>
                <a:spcPct val="170000"/>
              </a:lnSpc>
              <a:spcBef>
                <a:spcPts val="100"/>
              </a:spcBef>
            </a:pPr>
            <a:r>
              <a:rPr lang="fi-FI" sz="4000" dirty="0">
                <a:solidFill>
                  <a:srgbClr val="000000"/>
                </a:solidFill>
              </a:rPr>
              <a:t>IPR toiminnan tulee mukautua tutkimustoimintaan ja olla kiinteä osa sitä.</a:t>
            </a:r>
          </a:p>
          <a:p>
            <a:pPr marL="190800">
              <a:lnSpc>
                <a:spcPct val="170000"/>
              </a:lnSpc>
              <a:spcBef>
                <a:spcPts val="100"/>
              </a:spcBef>
            </a:pPr>
            <a:endParaRPr lang="en-GB" sz="4000" dirty="0">
              <a:solidFill>
                <a:srgbClr val="000000"/>
              </a:solidFill>
            </a:endParaRPr>
          </a:p>
          <a:p>
            <a:pPr marL="190800" lvl="0">
              <a:lnSpc>
                <a:spcPct val="170000"/>
              </a:lnSpc>
              <a:spcBef>
                <a:spcPts val="100"/>
              </a:spcBef>
            </a:pPr>
            <a:r>
              <a:rPr lang="fi-FI" sz="4000" dirty="0">
                <a:solidFill>
                  <a:srgbClr val="000000"/>
                </a:solidFill>
              </a:rPr>
              <a:t>Muiden alan toimijoiden patenttisuojia tulee kunnioittaa ja patenttikentän kehitystä seurata, jotta välttyy ongelmilta.</a:t>
            </a:r>
            <a:endParaRPr lang="en-US" sz="4000" dirty="0">
              <a:solidFill>
                <a:srgbClr val="000000"/>
              </a:solidFill>
            </a:endParaRPr>
          </a:p>
          <a:p>
            <a:pPr marL="0" lvl="0" indent="0">
              <a:lnSpc>
                <a:spcPct val="170000"/>
              </a:lnSpc>
              <a:spcBef>
                <a:spcPts val="100"/>
              </a:spcBef>
              <a:buNone/>
            </a:pPr>
            <a:endParaRPr lang="en-US" sz="4000" dirty="0">
              <a:solidFill>
                <a:srgbClr val="000000"/>
              </a:solidFill>
            </a:endParaRPr>
          </a:p>
          <a:p>
            <a:pPr marL="190800" lvl="0">
              <a:lnSpc>
                <a:spcPct val="170000"/>
              </a:lnSpc>
              <a:spcBef>
                <a:spcPts val="100"/>
              </a:spcBef>
            </a:pPr>
            <a:r>
              <a:rPr lang="en-US" sz="4000" dirty="0" err="1">
                <a:solidFill>
                  <a:srgbClr val="000000"/>
                </a:solidFill>
              </a:rPr>
              <a:t>Aineetonta</a:t>
            </a:r>
            <a:r>
              <a:rPr lang="en-US" sz="4000" dirty="0">
                <a:solidFill>
                  <a:srgbClr val="000000"/>
                </a:solidFill>
              </a:rPr>
              <a:t> </a:t>
            </a:r>
            <a:r>
              <a:rPr lang="en-US" sz="4000" dirty="0" err="1">
                <a:solidFill>
                  <a:srgbClr val="000000"/>
                </a:solidFill>
              </a:rPr>
              <a:t>omaisuutta</a:t>
            </a:r>
            <a:r>
              <a:rPr lang="en-US" sz="4000" dirty="0">
                <a:solidFill>
                  <a:srgbClr val="000000"/>
                </a:solidFill>
              </a:rPr>
              <a:t> </a:t>
            </a:r>
            <a:r>
              <a:rPr lang="en-US" sz="4000" dirty="0" err="1">
                <a:solidFill>
                  <a:srgbClr val="000000"/>
                </a:solidFill>
              </a:rPr>
              <a:t>voi</a:t>
            </a:r>
            <a:r>
              <a:rPr lang="en-US" sz="4000" dirty="0">
                <a:solidFill>
                  <a:srgbClr val="000000"/>
                </a:solidFill>
              </a:rPr>
              <a:t> </a:t>
            </a:r>
            <a:r>
              <a:rPr lang="en-US" sz="4000" dirty="0" err="1">
                <a:solidFill>
                  <a:srgbClr val="000000"/>
                </a:solidFill>
              </a:rPr>
              <a:t>hankkia</a:t>
            </a:r>
            <a:r>
              <a:rPr lang="en-US" sz="4000" dirty="0">
                <a:solidFill>
                  <a:srgbClr val="000000"/>
                </a:solidFill>
              </a:rPr>
              <a:t> </a:t>
            </a:r>
            <a:r>
              <a:rPr lang="en-US" sz="4000" dirty="0" err="1">
                <a:solidFill>
                  <a:srgbClr val="000000"/>
                </a:solidFill>
              </a:rPr>
              <a:t>monella</a:t>
            </a:r>
            <a:r>
              <a:rPr lang="en-US" sz="4000" dirty="0">
                <a:solidFill>
                  <a:srgbClr val="000000"/>
                </a:solidFill>
              </a:rPr>
              <a:t> </a:t>
            </a:r>
            <a:r>
              <a:rPr lang="en-US" sz="4000" dirty="0" err="1">
                <a:solidFill>
                  <a:srgbClr val="000000"/>
                </a:solidFill>
              </a:rPr>
              <a:t>eri</a:t>
            </a:r>
            <a:r>
              <a:rPr lang="en-US" sz="4000" dirty="0">
                <a:solidFill>
                  <a:srgbClr val="000000"/>
                </a:solidFill>
              </a:rPr>
              <a:t> </a:t>
            </a:r>
            <a:r>
              <a:rPr lang="en-US" sz="4000" dirty="0" err="1">
                <a:solidFill>
                  <a:srgbClr val="000000"/>
                </a:solidFill>
              </a:rPr>
              <a:t>tavoin</a:t>
            </a:r>
            <a:r>
              <a:rPr lang="en-US" sz="4000" dirty="0">
                <a:solidFill>
                  <a:srgbClr val="000000"/>
                </a:solidFill>
              </a:rPr>
              <a:t> – </a:t>
            </a:r>
            <a:r>
              <a:rPr lang="en-US" sz="4000" dirty="0" err="1">
                <a:solidFill>
                  <a:srgbClr val="000000"/>
                </a:solidFill>
              </a:rPr>
              <a:t>tarpeen</a:t>
            </a:r>
            <a:r>
              <a:rPr lang="en-US" sz="4000" dirty="0">
                <a:solidFill>
                  <a:srgbClr val="000000"/>
                </a:solidFill>
              </a:rPr>
              <a:t> </a:t>
            </a:r>
            <a:r>
              <a:rPr lang="en-US" sz="4000" dirty="0" err="1">
                <a:solidFill>
                  <a:srgbClr val="000000"/>
                </a:solidFill>
              </a:rPr>
              <a:t>mukaan</a:t>
            </a:r>
            <a:r>
              <a:rPr lang="en-US" sz="4000" dirty="0">
                <a:solidFill>
                  <a:srgbClr val="000000"/>
                </a:solidFill>
              </a:rPr>
              <a:t>.</a:t>
            </a:r>
          </a:p>
          <a:p>
            <a:pPr marL="1339200" lvl="3">
              <a:lnSpc>
                <a:spcPct val="170000"/>
              </a:lnSpc>
            </a:pPr>
            <a:endParaRPr lang="en-GB" sz="4000" dirty="0">
              <a:solidFill>
                <a:srgbClr val="000000"/>
              </a:solidFill>
            </a:endParaRPr>
          </a:p>
          <a:p>
            <a:pPr marL="198000">
              <a:lnSpc>
                <a:spcPct val="170000"/>
              </a:lnSpc>
            </a:pPr>
            <a:r>
              <a:rPr lang="fi-FI" sz="4000" dirty="0">
                <a:solidFill>
                  <a:srgbClr val="000000"/>
                </a:solidFill>
              </a:rPr>
              <a:t>Tyypillisesti patentointi kuvastaa yrityksen tutkimuksen painopistealueita, joilla varataan ratkaisuja tulevaisuuden toimintaa varten</a:t>
            </a:r>
            <a:endParaRPr lang="fi-FI" sz="4000" dirty="0">
              <a:solidFill>
                <a:schemeClr val="tx1">
                  <a:lumMod val="50000"/>
                </a:schemeClr>
              </a:solidFill>
            </a:endParaRPr>
          </a:p>
          <a:p>
            <a:pPr marL="190800" lvl="0">
              <a:spcBef>
                <a:spcPts val="100"/>
              </a:spcBef>
            </a:pPr>
            <a:endParaRPr lang="en-US" sz="3800" dirty="0" smtClean="0">
              <a:solidFill>
                <a:srgbClr val="000000"/>
              </a:solidFill>
            </a:endParaRPr>
          </a:p>
          <a:p>
            <a:pPr marL="190800" lvl="0">
              <a:spcBef>
                <a:spcPts val="100"/>
              </a:spcBef>
            </a:pPr>
            <a:endParaRPr lang="en-US" sz="3800" dirty="0" smtClean="0">
              <a:solidFill>
                <a:srgbClr val="000000"/>
              </a:solidFill>
            </a:endParaRPr>
          </a:p>
          <a:p>
            <a:pPr marL="190800" lvl="0">
              <a:spcBef>
                <a:spcPts val="100"/>
              </a:spcBef>
            </a:pPr>
            <a:endParaRPr lang="en-US" sz="3800" dirty="0" smtClean="0">
              <a:solidFill>
                <a:srgbClr val="000000"/>
              </a:solidFill>
            </a:endParaRPr>
          </a:p>
          <a:p>
            <a:pPr>
              <a:defRPr/>
            </a:pPr>
            <a:endParaRPr lang="fi-FI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91947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56389" y="241540"/>
            <a:ext cx="8552971" cy="934117"/>
          </a:xfrm>
        </p:spPr>
        <p:txBody>
          <a:bodyPr>
            <a:noAutofit/>
          </a:bodyPr>
          <a:lstStyle/>
          <a:p>
            <a:pPr algn="ctr"/>
            <a:r>
              <a:rPr lang="en-GB" b="1" dirty="0" err="1">
                <a:solidFill>
                  <a:srgbClr val="001177"/>
                </a:solidFill>
                <a:latin typeface="+mj-lt"/>
                <a:ea typeface="+mj-ea"/>
                <a:cs typeface="+mj-cs"/>
              </a:rPr>
              <a:t>Aineettomat</a:t>
            </a:r>
            <a:r>
              <a:rPr lang="en-GB" b="1" dirty="0">
                <a:solidFill>
                  <a:srgbClr val="0011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b="1" dirty="0" err="1">
                <a:solidFill>
                  <a:srgbClr val="001177"/>
                </a:solidFill>
                <a:latin typeface="+mj-lt"/>
                <a:ea typeface="+mj-ea"/>
                <a:cs typeface="+mj-cs"/>
              </a:rPr>
              <a:t>oikeuden</a:t>
            </a:r>
            <a:r>
              <a:rPr lang="en-GB" b="1" dirty="0">
                <a:solidFill>
                  <a:srgbClr val="0011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b="1" dirty="0" err="1">
                <a:solidFill>
                  <a:srgbClr val="001177"/>
                </a:solidFill>
                <a:latin typeface="+mj-lt"/>
                <a:ea typeface="+mj-ea"/>
                <a:cs typeface="+mj-cs"/>
              </a:rPr>
              <a:t>auttavat</a:t>
            </a:r>
            <a:r>
              <a:rPr lang="en-GB" b="1" dirty="0">
                <a:solidFill>
                  <a:srgbClr val="0011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b="1" dirty="0" err="1">
                <a:solidFill>
                  <a:srgbClr val="001177"/>
                </a:solidFill>
                <a:latin typeface="+mj-lt"/>
                <a:ea typeface="+mj-ea"/>
                <a:cs typeface="+mj-cs"/>
              </a:rPr>
              <a:t>vähentämään</a:t>
            </a:r>
            <a:r>
              <a:rPr lang="en-GB" b="1" dirty="0">
                <a:solidFill>
                  <a:srgbClr val="0011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b="1" dirty="0" err="1">
                <a:solidFill>
                  <a:srgbClr val="001177"/>
                </a:solidFill>
                <a:latin typeface="+mj-lt"/>
                <a:ea typeface="+mj-ea"/>
                <a:cs typeface="+mj-cs"/>
              </a:rPr>
              <a:t>liiketoiminnan</a:t>
            </a:r>
            <a:r>
              <a:rPr lang="en-GB" b="1" dirty="0">
                <a:solidFill>
                  <a:srgbClr val="0011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b="1" dirty="0" err="1">
                <a:solidFill>
                  <a:srgbClr val="001177"/>
                </a:solidFill>
                <a:latin typeface="+mj-lt"/>
                <a:ea typeface="+mj-ea"/>
                <a:cs typeface="+mj-cs"/>
              </a:rPr>
              <a:t>riskejä</a:t>
            </a:r>
            <a:r>
              <a:rPr lang="en-GB" b="1" dirty="0">
                <a:solidFill>
                  <a:srgbClr val="001177"/>
                </a:solidFill>
                <a:latin typeface="+mj-lt"/>
                <a:ea typeface="+mj-ea"/>
                <a:cs typeface="+mj-cs"/>
              </a:rPr>
              <a:t>, </a:t>
            </a:r>
            <a:r>
              <a:rPr lang="en-GB" b="1" dirty="0" err="1">
                <a:solidFill>
                  <a:srgbClr val="001177"/>
                </a:solidFill>
                <a:latin typeface="+mj-lt"/>
                <a:ea typeface="+mj-ea"/>
                <a:cs typeface="+mj-cs"/>
              </a:rPr>
              <a:t>parantamaan</a:t>
            </a:r>
            <a:r>
              <a:rPr lang="en-GB" b="1" dirty="0">
                <a:solidFill>
                  <a:srgbClr val="0011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b="1" dirty="0" err="1">
                <a:solidFill>
                  <a:srgbClr val="001177"/>
                </a:solidFill>
                <a:latin typeface="+mj-lt"/>
                <a:ea typeface="+mj-ea"/>
                <a:cs typeface="+mj-cs"/>
              </a:rPr>
              <a:t>kilpailukykyä</a:t>
            </a:r>
            <a:r>
              <a:rPr lang="en-GB" b="1" dirty="0">
                <a:solidFill>
                  <a:srgbClr val="0011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b="1" dirty="0" err="1">
                <a:solidFill>
                  <a:srgbClr val="001177"/>
                </a:solidFill>
                <a:latin typeface="+mj-lt"/>
                <a:ea typeface="+mj-ea"/>
                <a:cs typeface="+mj-cs"/>
              </a:rPr>
              <a:t>ja</a:t>
            </a:r>
            <a:r>
              <a:rPr lang="en-GB" b="1" dirty="0">
                <a:solidFill>
                  <a:srgbClr val="0011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b="1" dirty="0" err="1">
                <a:solidFill>
                  <a:srgbClr val="001177"/>
                </a:solidFill>
                <a:latin typeface="+mj-lt"/>
                <a:ea typeface="+mj-ea"/>
                <a:cs typeface="+mj-cs"/>
              </a:rPr>
              <a:t>erottumaan</a:t>
            </a:r>
            <a:r>
              <a:rPr lang="en-GB" b="1" dirty="0">
                <a:solidFill>
                  <a:srgbClr val="0011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b="1" dirty="0" err="1">
                <a:solidFill>
                  <a:srgbClr val="001177"/>
                </a:solidFill>
                <a:latin typeface="+mj-lt"/>
                <a:ea typeface="+mj-ea"/>
                <a:cs typeface="+mj-cs"/>
              </a:rPr>
              <a:t>kilpailijan</a:t>
            </a:r>
            <a:r>
              <a:rPr lang="en-GB" b="1" dirty="0">
                <a:solidFill>
                  <a:srgbClr val="0011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b="1" dirty="0" err="1">
                <a:solidFill>
                  <a:srgbClr val="001177"/>
                </a:solidFill>
                <a:latin typeface="+mj-lt"/>
                <a:ea typeface="+mj-ea"/>
                <a:cs typeface="+mj-cs"/>
              </a:rPr>
              <a:t>ratkaisuista</a:t>
            </a:r>
            <a:r>
              <a:rPr lang="fi-FI" b="1" dirty="0">
                <a:solidFill>
                  <a:srgbClr val="001177"/>
                </a:solidFill>
                <a:latin typeface="+mj-lt"/>
                <a:ea typeface="+mj-ea"/>
                <a:cs typeface="+mj-cs"/>
              </a:rPr>
              <a:t>.</a:t>
            </a:r>
            <a:endParaRPr lang="en-US" b="1" dirty="0">
              <a:solidFill>
                <a:srgbClr val="001177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212465" y="1382451"/>
            <a:ext cx="2689519" cy="273348"/>
          </a:xfrm>
          <a:prstGeom prst="rect">
            <a:avLst/>
          </a:prstGeom>
          <a:solidFill>
            <a:srgbClr val="001177"/>
          </a:solidFill>
          <a:ln w="9525" cap="flat" cmpd="sng" algn="ctr">
            <a:solidFill>
              <a:srgbClr val="001177"/>
            </a:solidFill>
            <a:prstDash val="soli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200" b="1" kern="0" dirty="0" err="1" smtClean="0">
                <a:solidFill>
                  <a:srgbClr val="FFFFFF"/>
                </a:solidFill>
                <a:latin typeface="Arial"/>
              </a:rPr>
              <a:t>Yhteistyökumppanit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167208" y="1382451"/>
            <a:ext cx="2673689" cy="273348"/>
          </a:xfrm>
          <a:prstGeom prst="rect">
            <a:avLst/>
          </a:prstGeom>
          <a:solidFill>
            <a:srgbClr val="001177"/>
          </a:solidFill>
          <a:ln w="9525" cap="flat" cmpd="sng" algn="ctr">
            <a:solidFill>
              <a:srgbClr val="001177"/>
            </a:solidFill>
            <a:prstDash val="soli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200" b="1" kern="0" dirty="0" err="1" smtClean="0">
                <a:solidFill>
                  <a:srgbClr val="FFFFFF"/>
                </a:solidFill>
                <a:latin typeface="Arial"/>
              </a:rPr>
              <a:t>Kilpailijat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234815" y="1660643"/>
            <a:ext cx="2667170" cy="3178368"/>
          </a:xfrm>
          <a:prstGeom prst="rect">
            <a:avLst/>
          </a:prstGeom>
          <a:noFill/>
          <a:ln w="9525" cap="flat" cmpd="sng" algn="ctr">
            <a:solidFill>
              <a:srgbClr val="001177"/>
            </a:solidFill>
            <a:prstDash val="solid"/>
          </a:ln>
          <a:effectLst/>
        </p:spPr>
        <p:txBody>
          <a:bodyPr rtlCol="0" anchor="t"/>
          <a:lstStyle/>
          <a:p>
            <a:pPr marL="65485" indent="-65485" defTabSz="685800">
              <a:lnSpc>
                <a:spcPct val="15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Yhteistyössä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kannattaa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huomioida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omat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ja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kumppanin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mahdolliset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suojat</a:t>
            </a:r>
            <a:endParaRPr lang="en-US" sz="1100" kern="0" dirty="0">
              <a:solidFill>
                <a:srgbClr val="666666"/>
              </a:solidFill>
              <a:latin typeface="Arial"/>
            </a:endParaRPr>
          </a:p>
          <a:p>
            <a:pPr marL="65485" indent="-65485" defTabSz="685800">
              <a:lnSpc>
                <a:spcPct val="15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Mutta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varmista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oma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toimintavapaus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ja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oikeudet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aineettomiin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oikeuksiin</a:t>
            </a:r>
            <a:endParaRPr lang="en-US" sz="1100" kern="0" dirty="0">
              <a:solidFill>
                <a:srgbClr val="666666"/>
              </a:solidFill>
              <a:latin typeface="Arial"/>
            </a:endParaRPr>
          </a:p>
          <a:p>
            <a:pPr marL="65485" indent="-65485" defTabSz="685800">
              <a:lnSpc>
                <a:spcPct val="15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Sopimusasiat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on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hyvä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pitää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ajan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tasalla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. </a:t>
            </a:r>
          </a:p>
          <a:p>
            <a:pPr marL="65485" indent="-65485" defTabSz="685800">
              <a:lnSpc>
                <a:spcPct val="15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Kannattaa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aina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varmistaa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etukäteen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kenelle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oikeudet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yhdessä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tehtyihin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ratkaisuihin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kuuluvat</a:t>
            </a:r>
            <a:endParaRPr lang="en-GB" sz="1100" kern="0" dirty="0">
              <a:solidFill>
                <a:srgbClr val="666666"/>
              </a:solidFill>
              <a:latin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160969" y="1660643"/>
            <a:ext cx="2673689" cy="317836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01177"/>
            </a:solidFill>
            <a:prstDash val="solid"/>
          </a:ln>
          <a:effectLst/>
        </p:spPr>
        <p:txBody>
          <a:bodyPr rtlCol="0" anchor="t"/>
          <a:lstStyle/>
          <a:p>
            <a:pPr marL="65485" indent="-65485">
              <a:lnSpc>
                <a:spcPct val="15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Oma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patenttisalkku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estää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kilpailijaa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toimimasta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saman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ratkaisun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mukaisesti</a:t>
            </a:r>
            <a:endParaRPr lang="en-GB" sz="1000" kern="0" dirty="0">
              <a:solidFill>
                <a:srgbClr val="666666"/>
              </a:solidFill>
              <a:latin typeface="Arial"/>
            </a:endParaRPr>
          </a:p>
          <a:p>
            <a:pPr marL="65485" indent="-65485" defTabSz="685800">
              <a:lnSpc>
                <a:spcPct val="15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Tehokas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patenttisalkku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on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hyvä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neuvotteluväline</a:t>
            </a:r>
            <a:endParaRPr lang="en-GB" sz="1000" kern="0" dirty="0">
              <a:solidFill>
                <a:srgbClr val="666666"/>
              </a:solidFill>
              <a:latin typeface="Arial"/>
            </a:endParaRPr>
          </a:p>
          <a:p>
            <a:pPr marL="65485" indent="-65485" defTabSz="685800">
              <a:lnSpc>
                <a:spcPct val="15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Panostus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suojaukseen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riippuu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yleensä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T&amp;K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panostuksesta</a:t>
            </a:r>
            <a:endParaRPr lang="en-GB" sz="1000" kern="0" dirty="0">
              <a:solidFill>
                <a:srgbClr val="666666"/>
              </a:solidFill>
              <a:latin typeface="Arial"/>
            </a:endParaRPr>
          </a:p>
          <a:p>
            <a:pPr marL="65485" indent="-65485" defTabSz="685800">
              <a:lnSpc>
                <a:spcPct val="15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Patenttisuojaus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mahdollistaa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lisenssitulot</a:t>
            </a:r>
            <a:endParaRPr lang="en-GB" sz="1000" kern="0" dirty="0">
              <a:solidFill>
                <a:srgbClr val="666666"/>
              </a:solidFill>
              <a:latin typeface="Arial"/>
            </a:endParaRPr>
          </a:p>
          <a:p>
            <a:pPr marL="65485" indent="-65485" defTabSz="685800">
              <a:lnSpc>
                <a:spcPct val="15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Kannattaa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varautua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myös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siihen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,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että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kilpailija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on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toista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mieltä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suojatun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ratkaisun</a:t>
            </a:r>
            <a:r>
              <a:rPr lang="en-GB" sz="10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000" kern="0" dirty="0" err="1" smtClean="0">
                <a:solidFill>
                  <a:srgbClr val="666666"/>
                </a:solidFill>
                <a:latin typeface="Arial"/>
              </a:rPr>
              <a:t>merkityksestä</a:t>
            </a:r>
            <a:endParaRPr lang="en-GB" sz="1000" kern="0" dirty="0">
              <a:solidFill>
                <a:srgbClr val="666666"/>
              </a:solidFill>
              <a:latin typeface="Arial"/>
            </a:endParaRPr>
          </a:p>
          <a:p>
            <a:pPr defTabSz="685800">
              <a:spcBef>
                <a:spcPts val="450"/>
              </a:spcBef>
              <a:defRPr/>
            </a:pPr>
            <a:endParaRPr lang="en-GB" sz="900" kern="0" dirty="0">
              <a:solidFill>
                <a:srgbClr val="666666"/>
              </a:solidFill>
              <a:latin typeface="Arial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56389" y="1382451"/>
            <a:ext cx="2600204" cy="269041"/>
          </a:xfrm>
          <a:prstGeom prst="rect">
            <a:avLst/>
          </a:prstGeom>
          <a:solidFill>
            <a:srgbClr val="001177"/>
          </a:solidFill>
          <a:ln w="9525" cap="flat" cmpd="sng" algn="ctr">
            <a:solidFill>
              <a:srgbClr val="001177"/>
            </a:solidFill>
            <a:prstDash val="soli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200" b="1" kern="0" dirty="0" err="1" smtClean="0">
                <a:solidFill>
                  <a:srgbClr val="FFFFFF"/>
                </a:solidFill>
                <a:latin typeface="Arial"/>
              </a:rPr>
              <a:t>Asiakkaat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56389" y="1660643"/>
            <a:ext cx="2597093" cy="315031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01177"/>
            </a:solidFill>
            <a:prstDash val="solid"/>
          </a:ln>
          <a:effectLst/>
        </p:spPr>
        <p:txBody>
          <a:bodyPr rtlCol="0" anchor="t"/>
          <a:lstStyle/>
          <a:p>
            <a:pPr marL="65485" indent="-65485" defTabSz="685800">
              <a:lnSpc>
                <a:spcPct val="15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Patenttikentän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tuntemus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ja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oma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patenttisuoja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vähentävät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riskiä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kilpailijan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puuttumisesta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toimituksiin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ja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asiakassuhteisiin</a:t>
            </a:r>
            <a:endParaRPr lang="en-GB" sz="1100" kern="0" dirty="0" smtClean="0">
              <a:solidFill>
                <a:srgbClr val="666666"/>
              </a:solidFill>
              <a:latin typeface="Arial"/>
            </a:endParaRPr>
          </a:p>
          <a:p>
            <a:pPr marL="65485" indent="-65485" defTabSz="685800">
              <a:lnSpc>
                <a:spcPct val="15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Patentit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parantavat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asiakkaiden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toimintavapautta</a:t>
            </a:r>
            <a:endParaRPr lang="en-GB" sz="1100" kern="0" dirty="0">
              <a:solidFill>
                <a:srgbClr val="666666"/>
              </a:solidFill>
              <a:latin typeface="Arial"/>
            </a:endParaRPr>
          </a:p>
          <a:p>
            <a:pPr marL="65485" indent="-65485" defTabSz="685800">
              <a:lnSpc>
                <a:spcPct val="15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Suojatun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tuotteen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voi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lisensioida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arvoketjussa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GB" sz="1100" kern="0" dirty="0" err="1" smtClean="0">
                <a:solidFill>
                  <a:srgbClr val="666666"/>
                </a:solidFill>
                <a:latin typeface="Arial"/>
              </a:rPr>
              <a:t>tarvittaessa</a:t>
            </a:r>
            <a:r>
              <a:rPr lang="en-GB" sz="1100" kern="0" dirty="0" smtClean="0">
                <a:solidFill>
                  <a:srgbClr val="666666"/>
                </a:solidFill>
                <a:latin typeface="Arial"/>
              </a:rPr>
              <a:t>.</a:t>
            </a:r>
          </a:p>
          <a:p>
            <a:pPr marL="65485" indent="-65485" defTabSz="685800">
              <a:lnSpc>
                <a:spcPct val="15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Patenttiseuranta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auttaa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puuttumaan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kilpailijoiden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toimintaan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 </a:t>
            </a:r>
            <a:r>
              <a:rPr lang="en-US" sz="1100" kern="0" dirty="0" err="1" smtClean="0">
                <a:solidFill>
                  <a:srgbClr val="666666"/>
                </a:solidFill>
                <a:latin typeface="Arial"/>
              </a:rPr>
              <a:t>tarvittaessa</a:t>
            </a:r>
            <a:r>
              <a:rPr lang="en-US" sz="1100" kern="0" dirty="0" smtClean="0">
                <a:solidFill>
                  <a:srgbClr val="666666"/>
                </a:solidFill>
                <a:latin typeface="Arial"/>
              </a:rPr>
              <a:t>.</a:t>
            </a:r>
            <a:endParaRPr lang="en-US" sz="1100" kern="0" dirty="0">
              <a:solidFill>
                <a:srgbClr val="666666"/>
              </a:solidFill>
              <a:latin typeface="Arial"/>
            </a:endParaRPr>
          </a:p>
          <a:p>
            <a:pPr marL="65485" indent="-65485" defTabSz="685800">
              <a:spcBef>
                <a:spcPts val="900"/>
              </a:spcBef>
              <a:buFont typeface="Arial" panose="020B0604020202020204" pitchFamily="34" charset="0"/>
              <a:buChar char="•"/>
              <a:defRPr/>
            </a:pPr>
            <a:endParaRPr lang="en-GB" sz="1100" kern="0" dirty="0">
              <a:solidFill>
                <a:srgbClr val="66666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44448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30" b="11730"/>
          <a:stretch/>
        </p:blipFill>
        <p:spPr>
          <a:prstGeom prst="rect">
            <a:avLst/>
          </a:prstGeom>
        </p:spPr>
      </p:pic>
      <p:sp>
        <p:nvSpPr>
          <p:cNvPr id="4" name="Teardrop 3"/>
          <p:cNvSpPr/>
          <p:nvPr/>
        </p:nvSpPr>
        <p:spPr>
          <a:xfrm>
            <a:off x="4374931" y="673851"/>
            <a:ext cx="3948532" cy="3732611"/>
          </a:xfrm>
          <a:prstGeom prst="teardrop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5" name="Title 3"/>
          <p:cNvSpPr txBox="1">
            <a:spLocks/>
          </p:cNvSpPr>
          <p:nvPr/>
        </p:nvSpPr>
        <p:spPr bwMode="auto">
          <a:xfrm>
            <a:off x="4810389" y="1596978"/>
            <a:ext cx="3814525" cy="1740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b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fi-FI" sz="2800" dirty="0" smtClean="0"/>
              <a:t>Patentit </a:t>
            </a:r>
            <a:r>
              <a:rPr lang="fi-FI" sz="2800" dirty="0"/>
              <a:t>osana yrityksen </a:t>
            </a:r>
            <a:r>
              <a:rPr lang="fi-FI" sz="2800" dirty="0" smtClean="0"/>
              <a:t>tutkimusta</a:t>
            </a:r>
          </a:p>
          <a:p>
            <a:pPr>
              <a:lnSpc>
                <a:spcPct val="150000"/>
              </a:lnSpc>
            </a:pPr>
            <a:r>
              <a:rPr lang="fi-FI" sz="2800" dirty="0" smtClean="0"/>
              <a:t> </a:t>
            </a:r>
            <a:r>
              <a:rPr lang="fi-FI" sz="2800" dirty="0"/>
              <a:t>ja tuotekehitystä</a:t>
            </a:r>
          </a:p>
        </p:txBody>
      </p:sp>
    </p:spTree>
    <p:extLst>
      <p:ext uri="{BB962C8B-B14F-4D97-AF65-F5344CB8AC3E}">
        <p14:creationId xmlns:p14="http://schemas.microsoft.com/office/powerpoint/2010/main" val="3586606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dirty="0">
                <a:solidFill>
                  <a:srgbClr val="001177"/>
                </a:solidFill>
              </a:rPr>
              <a:t>Patentit tutkimuksess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>
              <a:lnSpc>
                <a:spcPct val="150000"/>
              </a:lnSpc>
            </a:pPr>
            <a:r>
              <a:rPr lang="fi-FI" dirty="0" smtClean="0"/>
              <a:t>Tutkimuksen ja kehityksen </a:t>
            </a:r>
            <a:r>
              <a:rPr lang="fi-FI" dirty="0"/>
              <a:t>investointien </a:t>
            </a:r>
            <a:r>
              <a:rPr lang="fi-FI" dirty="0" smtClean="0"/>
              <a:t>suojaaminen - </a:t>
            </a:r>
            <a:r>
              <a:rPr lang="fi-FI" b="1" dirty="0">
                <a:solidFill>
                  <a:srgbClr val="001177"/>
                </a:solidFill>
              </a:rPr>
              <a:t>Ilman patentointia yritysten hyöty T&amp;K toiminnasta </a:t>
            </a:r>
            <a:r>
              <a:rPr lang="fi-FI" b="1" dirty="0" smtClean="0">
                <a:solidFill>
                  <a:srgbClr val="001177"/>
                </a:solidFill>
              </a:rPr>
              <a:t>vähenisi oleellisesti.</a:t>
            </a:r>
            <a:endParaRPr lang="fi-FI" dirty="0" smtClean="0">
              <a:solidFill>
                <a:srgbClr val="001177"/>
              </a:solidFill>
            </a:endParaRPr>
          </a:p>
          <a:p>
            <a:pPr>
              <a:lnSpc>
                <a:spcPct val="150000"/>
              </a:lnSpc>
            </a:pPr>
            <a:r>
              <a:rPr lang="fi-FI" dirty="0" smtClean="0"/>
              <a:t>Patentit tiedonlähteenä - </a:t>
            </a:r>
            <a:r>
              <a:rPr lang="fi-FI" b="1" dirty="0">
                <a:solidFill>
                  <a:srgbClr val="001177"/>
                </a:solidFill>
              </a:rPr>
              <a:t>Olemassa olevien  patenttien selvittäminen on olennainen osa jokaisen T&amp;K projektin </a:t>
            </a:r>
            <a:r>
              <a:rPr lang="fi-FI" b="1" dirty="0" smtClean="0">
                <a:solidFill>
                  <a:srgbClr val="001177"/>
                </a:solidFill>
              </a:rPr>
              <a:t>lähtötietoja</a:t>
            </a:r>
            <a:r>
              <a:rPr lang="fi-FI" b="1" dirty="0" smtClean="0">
                <a:solidFill>
                  <a:srgbClr val="FF0000"/>
                </a:solidFill>
              </a:rPr>
              <a:t>.</a:t>
            </a:r>
            <a:endParaRPr lang="fi-FI" dirty="0" smtClean="0"/>
          </a:p>
          <a:p>
            <a:pPr>
              <a:lnSpc>
                <a:spcPct val="150000"/>
              </a:lnSpc>
            </a:pPr>
            <a:r>
              <a:rPr lang="fi-FI" dirty="0" smtClean="0"/>
              <a:t>Kilpailijoiden </a:t>
            </a:r>
            <a:r>
              <a:rPr lang="fi-FI" dirty="0"/>
              <a:t>patenttien </a:t>
            </a:r>
            <a:r>
              <a:rPr lang="fi-FI" dirty="0" smtClean="0"/>
              <a:t>huomioiminen - </a:t>
            </a:r>
            <a:r>
              <a:rPr lang="fi-FI" b="1" dirty="0">
                <a:solidFill>
                  <a:srgbClr val="001177"/>
                </a:solidFill>
              </a:rPr>
              <a:t>Oma riskitaso on tiedettävä ennen investointeja ja uusien tuotteiden myynnin </a:t>
            </a:r>
            <a:r>
              <a:rPr lang="fi-FI" b="1" dirty="0" smtClean="0">
                <a:solidFill>
                  <a:srgbClr val="001177"/>
                </a:solidFill>
              </a:rPr>
              <a:t>aloittamista</a:t>
            </a:r>
            <a:r>
              <a:rPr lang="fi-FI" b="1" dirty="0" smtClean="0">
                <a:solidFill>
                  <a:srgbClr val="FF0000"/>
                </a:solidFill>
              </a:rPr>
              <a:t>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85848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dirty="0">
                <a:solidFill>
                  <a:srgbClr val="001177"/>
                </a:solidFill>
              </a:rPr>
              <a:t>Patenttijärjestelmän lähtökoh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799" y="1346400"/>
            <a:ext cx="7733591" cy="3308400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50000"/>
              </a:lnSpc>
            </a:pPr>
            <a:r>
              <a:rPr lang="en-US" dirty="0" err="1" smtClean="0"/>
              <a:t>Patentoinnilla</a:t>
            </a:r>
            <a:r>
              <a:rPr lang="en-US" dirty="0" smtClean="0"/>
              <a:t> on </a:t>
            </a:r>
            <a:r>
              <a:rPr lang="en-US" dirty="0" err="1" smtClean="0"/>
              <a:t>pitkät</a:t>
            </a:r>
            <a:r>
              <a:rPr lang="en-US" dirty="0" smtClean="0"/>
              <a:t> </a:t>
            </a:r>
            <a:r>
              <a:rPr lang="en-US" dirty="0" err="1" smtClean="0"/>
              <a:t>perinteet</a:t>
            </a:r>
            <a:r>
              <a:rPr lang="en-US" dirty="0" smtClean="0"/>
              <a:t>: </a:t>
            </a:r>
            <a:r>
              <a:rPr lang="en-US" dirty="0" err="1" smtClean="0"/>
              <a:t>Venetsian</a:t>
            </a:r>
            <a:r>
              <a:rPr lang="en-US" dirty="0" smtClean="0"/>
              <a:t> </a:t>
            </a:r>
            <a:r>
              <a:rPr lang="en-US" dirty="0" err="1" smtClean="0"/>
              <a:t>privileegiot</a:t>
            </a:r>
            <a:r>
              <a:rPr lang="en-US" dirty="0" smtClean="0"/>
              <a:t> 1450-luvulla</a:t>
            </a:r>
            <a:endParaRPr lang="fi-FI" dirty="0" smtClean="0"/>
          </a:p>
          <a:p>
            <a:pPr>
              <a:lnSpc>
                <a:spcPct val="150000"/>
              </a:lnSpc>
            </a:pPr>
            <a:r>
              <a:rPr lang="fi-FI" dirty="0" smtClean="0"/>
              <a:t>Patenttijärjestelmä </a:t>
            </a:r>
            <a:r>
              <a:rPr lang="fi-FI" dirty="0"/>
              <a:t>tarjoaa kehityksen tekijöille taloudellisen hyödyn, joka kannustaa </a:t>
            </a:r>
            <a:r>
              <a:rPr lang="fi-FI" dirty="0" smtClean="0"/>
              <a:t>kehittämiseen </a:t>
            </a:r>
            <a:r>
              <a:rPr lang="fi-FI" dirty="0"/>
              <a:t>ja </a:t>
            </a:r>
            <a:r>
              <a:rPr lang="fi-FI" dirty="0" smtClean="0"/>
              <a:t>on siten mahdollistanut mm. teollisen </a:t>
            </a:r>
            <a:r>
              <a:rPr lang="fi-FI" dirty="0"/>
              <a:t>vallankumouksen ja sitä seuranneen teknisen </a:t>
            </a:r>
            <a:r>
              <a:rPr lang="fi-FI" dirty="0" smtClean="0"/>
              <a:t>kehityksen: </a:t>
            </a:r>
            <a:r>
              <a:rPr lang="fi-FI" dirty="0"/>
              <a:t>James Wattin patentti parannetulle höyrykoneelle vuonna 1769</a:t>
            </a:r>
            <a:r>
              <a:rPr lang="fi-FI" dirty="0" smtClean="0"/>
              <a:t>.</a:t>
            </a:r>
          </a:p>
          <a:p>
            <a:pPr>
              <a:lnSpc>
                <a:spcPct val="150000"/>
              </a:lnSpc>
            </a:pPr>
            <a:r>
              <a:rPr lang="fi-FI" dirty="0" smtClean="0"/>
              <a:t>Patentti on kielto-oikeus: Patentin </a:t>
            </a:r>
            <a:r>
              <a:rPr lang="fi-FI" dirty="0"/>
              <a:t>haltijalla on oikeus kieltää muita hyödyntämästä patentin mukaista teknistä ratkaisua ammattimaisesti. Kehitystyö ei kuulu em. kielto-oikeuteen.</a:t>
            </a:r>
          </a:p>
        </p:txBody>
      </p:sp>
    </p:spTree>
    <p:extLst>
      <p:ext uri="{BB962C8B-B14F-4D97-AF65-F5344CB8AC3E}">
        <p14:creationId xmlns:p14="http://schemas.microsoft.com/office/powerpoint/2010/main" val="694337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30" b="11730"/>
          <a:stretch/>
        </p:blipFill>
        <p:spPr>
          <a:prstGeom prst="rect">
            <a:avLst/>
          </a:prstGeom>
        </p:spPr>
      </p:pic>
      <p:sp>
        <p:nvSpPr>
          <p:cNvPr id="4" name="Teardrop 3"/>
          <p:cNvSpPr/>
          <p:nvPr/>
        </p:nvSpPr>
        <p:spPr>
          <a:xfrm>
            <a:off x="4374931" y="673851"/>
            <a:ext cx="3948532" cy="3732611"/>
          </a:xfrm>
          <a:prstGeom prst="teardrop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5" name="Title 3"/>
          <p:cNvSpPr txBox="1">
            <a:spLocks/>
          </p:cNvSpPr>
          <p:nvPr/>
        </p:nvSpPr>
        <p:spPr bwMode="auto">
          <a:xfrm>
            <a:off x="4508938" y="1596978"/>
            <a:ext cx="3814525" cy="1740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b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lvl="0" algn="ctr">
              <a:defRPr/>
            </a:pPr>
            <a:r>
              <a:rPr kumimoji="0" lang="fi-FI" sz="3200" b="0" i="0" u="none" strike="noStrike" kern="0" cap="none" spc="0" normalizeH="0" baseline="0" dirty="0" smtClean="0">
                <a:ln>
                  <a:noFill/>
                </a:ln>
                <a:solidFill>
                  <a:srgbClr val="001177"/>
                </a:solidFill>
                <a:effectLst/>
                <a:uLnTx/>
                <a:uFillTx/>
                <a:latin typeface="Arial"/>
                <a:ea typeface="ＭＳ Ｐゴシック"/>
              </a:rPr>
              <a:t>Neste pähkinänkuoressa</a:t>
            </a:r>
            <a:endParaRPr kumimoji="0" lang="en-US" sz="3200" b="0" i="0" u="none" strike="noStrike" kern="0" cap="none" spc="0" normalizeH="0" baseline="0" dirty="0" smtClean="0">
              <a:ln>
                <a:noFill/>
              </a:ln>
              <a:solidFill>
                <a:srgbClr val="001177"/>
              </a:solidFill>
              <a:effectLst/>
              <a:uLnTx/>
              <a:uFillTx/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272394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244800"/>
            <a:ext cx="8654400" cy="589213"/>
          </a:xfrm>
        </p:spPr>
        <p:txBody>
          <a:bodyPr/>
          <a:lstStyle/>
          <a:p>
            <a:r>
              <a:rPr lang="fi-FI" dirty="0">
                <a:solidFill>
                  <a:srgbClr val="001177"/>
                </a:solidFill>
              </a:rPr>
              <a:t>Tutkimuksen ja kehityksen investointien </a:t>
            </a:r>
            <a:r>
              <a:rPr lang="fi-FI" dirty="0" smtClean="0">
                <a:solidFill>
                  <a:srgbClr val="001177"/>
                </a:solidFill>
              </a:rPr>
              <a:t>suojaaminen (1)</a:t>
            </a:r>
            <a:endParaRPr lang="fi-FI" dirty="0">
              <a:solidFill>
                <a:srgbClr val="001177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800" y="1024932"/>
            <a:ext cx="6408000" cy="3629868"/>
          </a:xfrm>
        </p:spPr>
        <p:txBody>
          <a:bodyPr>
            <a:normAutofit fontScale="40000" lnSpcReduction="20000"/>
          </a:bodyPr>
          <a:lstStyle/>
          <a:p>
            <a:pPr>
              <a:lnSpc>
                <a:spcPct val="170000"/>
              </a:lnSpc>
            </a:pPr>
            <a:r>
              <a:rPr lang="fi-FI" sz="3000" dirty="0" smtClean="0">
                <a:solidFill>
                  <a:schemeClr val="tx2"/>
                </a:solidFill>
              </a:rPr>
              <a:t>Yritysten </a:t>
            </a:r>
            <a:r>
              <a:rPr lang="fi-FI" sz="3000" dirty="0">
                <a:solidFill>
                  <a:schemeClr val="tx2"/>
                </a:solidFill>
              </a:rPr>
              <a:t>toiminta perustuu pitkäaikaisen taloudellisen hyödyn tuottamiseen.  </a:t>
            </a:r>
          </a:p>
          <a:p>
            <a:pPr>
              <a:lnSpc>
                <a:spcPct val="170000"/>
              </a:lnSpc>
            </a:pPr>
            <a:r>
              <a:rPr lang="fi-FI" sz="3000" dirty="0" smtClean="0">
                <a:solidFill>
                  <a:schemeClr val="tx2"/>
                </a:solidFill>
              </a:rPr>
              <a:t>T&amp;K </a:t>
            </a:r>
            <a:r>
              <a:rPr lang="fi-FI" sz="3000" dirty="0">
                <a:solidFill>
                  <a:schemeClr val="tx2"/>
                </a:solidFill>
              </a:rPr>
              <a:t>toiminta pyrkii luomaan uusia </a:t>
            </a:r>
            <a:r>
              <a:rPr lang="fi-FI" sz="3000" dirty="0" smtClean="0">
                <a:solidFill>
                  <a:schemeClr val="tx2"/>
                </a:solidFill>
              </a:rPr>
              <a:t>ratkaisuja </a:t>
            </a:r>
            <a:r>
              <a:rPr lang="fi-FI" sz="3000" dirty="0">
                <a:solidFill>
                  <a:schemeClr val="tx2"/>
                </a:solidFill>
              </a:rPr>
              <a:t>siten, että T&amp;K panostus mahdollistaa yrityksen tuloksen </a:t>
            </a:r>
            <a:r>
              <a:rPr lang="fi-FI" sz="3000" dirty="0" smtClean="0">
                <a:solidFill>
                  <a:schemeClr val="tx2"/>
                </a:solidFill>
              </a:rPr>
              <a:t>kasvua.</a:t>
            </a:r>
          </a:p>
          <a:p>
            <a:pPr>
              <a:lnSpc>
                <a:spcPct val="170000"/>
              </a:lnSpc>
            </a:pPr>
            <a:r>
              <a:rPr lang="fi-FI" sz="3000" dirty="0" smtClean="0">
                <a:solidFill>
                  <a:schemeClr val="tx2"/>
                </a:solidFill>
              </a:rPr>
              <a:t>Ilman </a:t>
            </a:r>
            <a:r>
              <a:rPr lang="fi-FI" sz="3000" dirty="0">
                <a:solidFill>
                  <a:schemeClr val="tx2"/>
                </a:solidFill>
              </a:rPr>
              <a:t>patenttien tuomaa yksinoikeutta </a:t>
            </a:r>
            <a:r>
              <a:rPr lang="fi-FI" sz="3000" dirty="0" err="1">
                <a:solidFill>
                  <a:schemeClr val="tx2"/>
                </a:solidFill>
              </a:rPr>
              <a:t>T&amp;K:hon</a:t>
            </a:r>
            <a:r>
              <a:rPr lang="fi-FI" sz="3000" dirty="0">
                <a:solidFill>
                  <a:schemeClr val="tx2"/>
                </a:solidFill>
              </a:rPr>
              <a:t> panostanut yhtiö kantaisi yksin kaikki kehityskulut ja muut voisivat kopioida toimivat ratkaisut =&gt; </a:t>
            </a:r>
            <a:r>
              <a:rPr lang="fi-FI" sz="3000" dirty="0" err="1">
                <a:solidFill>
                  <a:schemeClr val="tx2"/>
                </a:solidFill>
              </a:rPr>
              <a:t>T&amp;K:n</a:t>
            </a:r>
            <a:r>
              <a:rPr lang="fi-FI" sz="3000" dirty="0">
                <a:solidFill>
                  <a:schemeClr val="tx2"/>
                </a:solidFill>
              </a:rPr>
              <a:t> liiketoiminnallinen hyöty </a:t>
            </a:r>
            <a:r>
              <a:rPr lang="fi-FI" sz="3000" dirty="0" smtClean="0">
                <a:solidFill>
                  <a:schemeClr val="tx2"/>
                </a:solidFill>
              </a:rPr>
              <a:t>poistuisi</a:t>
            </a:r>
          </a:p>
          <a:p>
            <a:pPr>
              <a:lnSpc>
                <a:spcPct val="170000"/>
              </a:lnSpc>
            </a:pPr>
            <a:r>
              <a:rPr lang="fi-FI" sz="3000" dirty="0" smtClean="0">
                <a:solidFill>
                  <a:schemeClr val="tx2"/>
                </a:solidFill>
              </a:rPr>
              <a:t>Myynnissä </a:t>
            </a:r>
            <a:r>
              <a:rPr lang="fi-FI" sz="3000" dirty="0">
                <a:solidFill>
                  <a:schemeClr val="tx2"/>
                </a:solidFill>
              </a:rPr>
              <a:t>olevien tuotteiden tutkiminen sekä purkaminen ja kopiointi on sallittu, jos tuotetta ei ole suojattu patentilla (tai mallisuojalla)</a:t>
            </a:r>
            <a:r>
              <a:rPr lang="fi-FI" b="1" dirty="0">
                <a:solidFill>
                  <a:schemeClr val="tx2"/>
                </a:solidFill>
              </a:rPr>
              <a:t/>
            </a:r>
            <a:br>
              <a:rPr lang="fi-FI" b="1" dirty="0">
                <a:solidFill>
                  <a:schemeClr val="tx2"/>
                </a:solidFill>
              </a:rPr>
            </a:br>
            <a:r>
              <a:rPr lang="fi-FI" b="1" dirty="0">
                <a:solidFill>
                  <a:schemeClr val="tx2"/>
                </a:solidFill>
              </a:rPr>
              <a:t/>
            </a:r>
            <a:br>
              <a:rPr lang="fi-FI" b="1" dirty="0">
                <a:solidFill>
                  <a:schemeClr val="tx2"/>
                </a:solidFill>
              </a:rPr>
            </a:br>
            <a:r>
              <a:rPr lang="fi-FI" dirty="0">
                <a:solidFill>
                  <a:schemeClr val="tx2"/>
                </a:solidFill>
              </a:rPr>
              <a:t>Esim. lääkkeen kehitys voi maksaa 2 </a:t>
            </a:r>
            <a:r>
              <a:rPr lang="fi-FI" dirty="0" err="1">
                <a:solidFill>
                  <a:schemeClr val="tx2"/>
                </a:solidFill>
              </a:rPr>
              <a:t>mrd</a:t>
            </a:r>
            <a:r>
              <a:rPr lang="fi-FI" dirty="0">
                <a:solidFill>
                  <a:schemeClr val="tx2"/>
                </a:solidFill>
              </a:rPr>
              <a:t> € =&gt; jos yritys ei saisi patentin tuomaa yksinoikeutta, niin kehitykseen ei voisi investoida</a:t>
            </a:r>
            <a:r>
              <a:rPr lang="fi-FI" b="1" dirty="0">
                <a:solidFill>
                  <a:schemeClr val="tx2"/>
                </a:solidFill>
              </a:rPr>
              <a:t/>
            </a:r>
            <a:br>
              <a:rPr lang="fi-FI" b="1" dirty="0">
                <a:solidFill>
                  <a:schemeClr val="tx2"/>
                </a:solidFill>
              </a:rPr>
            </a:br>
            <a:r>
              <a:rPr lang="fi-FI" b="1" dirty="0">
                <a:solidFill>
                  <a:schemeClr val="tx2"/>
                </a:solidFill>
              </a:rPr>
              <a:t/>
            </a:r>
            <a:br>
              <a:rPr lang="fi-FI" b="1" dirty="0">
                <a:solidFill>
                  <a:schemeClr val="tx2"/>
                </a:solidFill>
              </a:rPr>
            </a:br>
            <a:r>
              <a:rPr lang="fi-FI" sz="2500" dirty="0">
                <a:solidFill>
                  <a:schemeClr val="tx2"/>
                </a:solidFill>
              </a:rPr>
              <a:t>Joitain </a:t>
            </a:r>
            <a:r>
              <a:rPr lang="fi-FI" sz="2500" dirty="0" err="1">
                <a:solidFill>
                  <a:schemeClr val="tx2"/>
                </a:solidFill>
              </a:rPr>
              <a:t>T&amp;K:n</a:t>
            </a:r>
            <a:r>
              <a:rPr lang="fi-FI" sz="2500" dirty="0">
                <a:solidFill>
                  <a:schemeClr val="tx2"/>
                </a:solidFill>
              </a:rPr>
              <a:t> tuloksia yritys voi säilyttää yrityssalaisuutena. Yrityssalaisuuden suoja kuitenkin loppuu, kun asia tulee julkiseksi</a:t>
            </a:r>
          </a:p>
        </p:txBody>
      </p:sp>
    </p:spTree>
    <p:extLst>
      <p:ext uri="{BB962C8B-B14F-4D97-AF65-F5344CB8AC3E}">
        <p14:creationId xmlns:p14="http://schemas.microsoft.com/office/powerpoint/2010/main" val="1956651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244800"/>
            <a:ext cx="8654400" cy="498778"/>
          </a:xfrm>
        </p:spPr>
        <p:txBody>
          <a:bodyPr/>
          <a:lstStyle/>
          <a:p>
            <a:r>
              <a:rPr lang="fi-FI" dirty="0">
                <a:solidFill>
                  <a:srgbClr val="001177"/>
                </a:solidFill>
              </a:rPr>
              <a:t>Tutkimuksen ja kehityksen investointien suojaaminen </a:t>
            </a:r>
            <a:r>
              <a:rPr lang="fi-FI" dirty="0" smtClean="0">
                <a:solidFill>
                  <a:srgbClr val="001177"/>
                </a:solidFill>
              </a:rPr>
              <a:t>(2)</a:t>
            </a:r>
            <a:endParaRPr lang="fi-FI" dirty="0">
              <a:solidFill>
                <a:srgbClr val="001177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800" y="914400"/>
            <a:ext cx="7070400" cy="399924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i-FI" sz="1200" dirty="0"/>
              <a:t>Patentit voimassa 20 vuotta</a:t>
            </a:r>
            <a:br>
              <a:rPr lang="fi-FI" sz="1200" dirty="0"/>
            </a:br>
            <a:r>
              <a:rPr lang="fi-FI" sz="1200" dirty="0"/>
              <a:t>Uutuus- ja keksinnöllisyysvaatimus</a:t>
            </a:r>
            <a:br>
              <a:rPr lang="fi-FI" sz="1200" dirty="0"/>
            </a:br>
            <a:r>
              <a:rPr lang="fi-FI" sz="1200" dirty="0"/>
              <a:t>Ensimmäisenä hakemuksen jättänyt saa patentin</a:t>
            </a:r>
            <a:br>
              <a:rPr lang="fi-FI" sz="1200" dirty="0"/>
            </a:br>
            <a:r>
              <a:rPr lang="fi-FI" sz="1200" dirty="0"/>
              <a:t/>
            </a:r>
            <a:br>
              <a:rPr lang="fi-FI" sz="1200" dirty="0"/>
            </a:br>
            <a:r>
              <a:rPr lang="fi-FI" sz="1200" dirty="0"/>
              <a:t/>
            </a:r>
            <a:br>
              <a:rPr lang="fi-FI" sz="1200" dirty="0"/>
            </a:br>
            <a:r>
              <a:rPr lang="fi-FI" sz="1200" dirty="0"/>
              <a:t>=&gt; Mitä suojata ja missä vaiheessa</a:t>
            </a:r>
            <a:r>
              <a:rPr lang="fi-FI" sz="1200" dirty="0" smtClean="0"/>
              <a:t>?</a:t>
            </a:r>
            <a:br>
              <a:rPr lang="fi-FI" sz="1200" dirty="0" smtClean="0"/>
            </a:br>
            <a:r>
              <a:rPr lang="fi-FI" sz="1200" dirty="0"/>
              <a:t/>
            </a:r>
            <a:br>
              <a:rPr lang="fi-FI" sz="1200" dirty="0"/>
            </a:br>
            <a:r>
              <a:rPr lang="fi-FI" sz="1200" dirty="0"/>
              <a:t>- Onko vaara, että kilpailija ehtii ensin =&gt; kilpailijoiden aktiivisuus</a:t>
            </a:r>
            <a:br>
              <a:rPr lang="fi-FI" sz="1200" dirty="0"/>
            </a:br>
            <a:r>
              <a:rPr lang="fi-FI" sz="1200" dirty="0"/>
              <a:t>- Onko kehitys riittävän pitkällä =&gt;omat hakemukset voi muodostaa esteen omille </a:t>
            </a:r>
            <a:r>
              <a:rPr lang="fi-FI" sz="1200" dirty="0" smtClean="0"/>
              <a:t>tuleville</a:t>
            </a:r>
          </a:p>
          <a:p>
            <a:pPr marL="0" indent="0">
              <a:buNone/>
            </a:pPr>
            <a:r>
              <a:rPr lang="fi-FI" sz="1200" dirty="0" smtClean="0"/>
              <a:t>patenteille</a:t>
            </a:r>
            <a:r>
              <a:rPr lang="fi-FI" sz="1200" dirty="0"/>
              <a:t/>
            </a:r>
            <a:br>
              <a:rPr lang="fi-FI" sz="1200" dirty="0"/>
            </a:br>
            <a:r>
              <a:rPr lang="fi-FI" sz="1200" dirty="0"/>
              <a:t/>
            </a:r>
            <a:br>
              <a:rPr lang="fi-FI" sz="1200" dirty="0"/>
            </a:br>
            <a:r>
              <a:rPr lang="fi-FI" sz="1200" dirty="0">
                <a:solidFill>
                  <a:srgbClr val="FF0000"/>
                </a:solidFill>
              </a:rPr>
              <a:t>Pitkälle tulevaisuuteen tähtäävillä patenteilla on usein isot mahdollisuudet mutta myös isompi riski</a:t>
            </a:r>
            <a:r>
              <a:rPr lang="fi-FI" sz="1200" dirty="0"/>
              <a:t/>
            </a:r>
            <a:br>
              <a:rPr lang="fi-FI" sz="1200" dirty="0"/>
            </a:br>
            <a:r>
              <a:rPr lang="fi-FI" sz="1200" dirty="0"/>
              <a:t/>
            </a:r>
            <a:br>
              <a:rPr lang="fi-FI" sz="1200" dirty="0"/>
            </a:br>
            <a:r>
              <a:rPr lang="fi-FI" sz="1200" dirty="0"/>
              <a:t>Kustannus 5 – 30 k€ / maa</a:t>
            </a:r>
            <a:br>
              <a:rPr lang="fi-FI" sz="1200" dirty="0"/>
            </a:br>
            <a:r>
              <a:rPr lang="fi-FI" sz="1200" dirty="0"/>
              <a:t>Minne kannattaa ulottaa suoja?</a:t>
            </a:r>
            <a:br>
              <a:rPr lang="fi-FI" sz="1200" dirty="0"/>
            </a:br>
            <a:r>
              <a:rPr lang="fi-FI" sz="1200" dirty="0"/>
              <a:t>- omat markkinat, isot markkinat, tuleva myynti</a:t>
            </a:r>
            <a:br>
              <a:rPr lang="fi-FI" sz="1200" dirty="0"/>
            </a:br>
            <a:r>
              <a:rPr lang="fi-FI" sz="1200" dirty="0"/>
              <a:t>- kilpailijoiden tuotanto, </a:t>
            </a:r>
            <a:br>
              <a:rPr lang="fi-FI" sz="1200" dirty="0"/>
            </a:br>
            <a:r>
              <a:rPr lang="fi-FI" sz="1200" dirty="0"/>
              <a:t/>
            </a:r>
            <a:br>
              <a:rPr lang="fi-FI" sz="1200" dirty="0"/>
            </a:br>
            <a:r>
              <a:rPr lang="fi-FI" sz="1200" dirty="0"/>
              <a:t>=&gt; Päätöksen teko vaatii usein ennustamista, joten se on haastavaa </a:t>
            </a:r>
            <a:br>
              <a:rPr lang="fi-FI" sz="1200" dirty="0"/>
            </a:br>
            <a:r>
              <a:rPr lang="fi-FI" sz="1200" dirty="0"/>
              <a:t/>
            </a:r>
            <a:br>
              <a:rPr lang="fi-FI" sz="1200" dirty="0"/>
            </a:br>
            <a:r>
              <a:rPr lang="fi-FI" sz="1200" dirty="0"/>
              <a:t>Parhaaseen lopputulokseen päästään järjestelmällisellä toiminnalla eli patentointi on integroitu osaksi T&amp;K </a:t>
            </a:r>
            <a:r>
              <a:rPr lang="fi-FI" sz="1200" dirty="0" smtClean="0"/>
              <a:t>prosessia; liiketoiminnan</a:t>
            </a:r>
            <a:r>
              <a:rPr lang="fi-FI" sz="1200" dirty="0"/>
              <a:t>, </a:t>
            </a:r>
            <a:r>
              <a:rPr lang="fi-FI" sz="1200" dirty="0" err="1"/>
              <a:t>T&amp;K:n</a:t>
            </a:r>
            <a:r>
              <a:rPr lang="fi-FI" sz="1200" dirty="0"/>
              <a:t> ja </a:t>
            </a:r>
            <a:r>
              <a:rPr lang="fi-FI" sz="1200" dirty="0" err="1"/>
              <a:t>IPR:n</a:t>
            </a:r>
            <a:r>
              <a:rPr lang="fi-FI" sz="1200" dirty="0"/>
              <a:t> yhteistyöllä</a:t>
            </a:r>
          </a:p>
        </p:txBody>
      </p:sp>
    </p:spTree>
    <p:extLst>
      <p:ext uri="{BB962C8B-B14F-4D97-AF65-F5344CB8AC3E}">
        <p14:creationId xmlns:p14="http://schemas.microsoft.com/office/powerpoint/2010/main" val="534542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244800"/>
            <a:ext cx="8654400" cy="609310"/>
          </a:xfrm>
        </p:spPr>
        <p:txBody>
          <a:bodyPr/>
          <a:lstStyle/>
          <a:p>
            <a:r>
              <a:rPr lang="fi-FI" dirty="0">
                <a:solidFill>
                  <a:srgbClr val="001177"/>
                </a:solidFill>
              </a:rPr>
              <a:t>Tutkimuksen ja kehityksen investointien suojaaminen (2)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b="1" dirty="0">
                <a:solidFill>
                  <a:srgbClr val="FF0000"/>
                </a:solidFill>
              </a:rPr>
              <a:t>Patentointi on tärkeä osa yritysten strategiaa, jota ilman T&amp;K ei olisi taloudellisesti kannattavaa.  </a:t>
            </a:r>
            <a:br>
              <a:rPr lang="fi-FI" b="1" dirty="0">
                <a:solidFill>
                  <a:srgbClr val="FF0000"/>
                </a:solidFill>
              </a:rPr>
            </a:br>
            <a:r>
              <a:rPr lang="fi-FI" sz="1800" b="1" dirty="0"/>
              <a:t/>
            </a:r>
            <a:br>
              <a:rPr lang="fi-FI" sz="1800" b="1" dirty="0"/>
            </a:br>
            <a:r>
              <a:rPr lang="fi-FI" sz="1800" b="1" dirty="0"/>
              <a:t/>
            </a:r>
            <a:br>
              <a:rPr lang="fi-FI" sz="1800" b="1" dirty="0"/>
            </a:br>
            <a:r>
              <a:rPr lang="fi-FI" sz="1800" b="1" dirty="0"/>
              <a:t>Oikeuksien käyttäminen =&gt; myynti, lisensointi, </a:t>
            </a:r>
            <a:r>
              <a:rPr lang="fi-FI" sz="1800" b="1" dirty="0" smtClean="0"/>
              <a:t>oikeudenkäynnit</a:t>
            </a:r>
          </a:p>
          <a:p>
            <a:endParaRPr lang="fi-FI" sz="1800" b="1" dirty="0"/>
          </a:p>
          <a:p>
            <a:endParaRPr lang="fi-FI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4684" y="3686065"/>
            <a:ext cx="1215432" cy="968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1648063" y="4195650"/>
            <a:ext cx="121058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800" b="1" dirty="0" err="1" smtClean="0">
                <a:solidFill>
                  <a:prstClr val="black"/>
                </a:solidFill>
                <a:latin typeface="Arial"/>
                <a:ea typeface="ＭＳ Ｐゴシック"/>
                <a:cs typeface="+mn-cs"/>
              </a:rPr>
              <a:t>panostus</a:t>
            </a:r>
            <a:endParaRPr lang="en-GB" sz="1800" dirty="0">
              <a:solidFill>
                <a:prstClr val="black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4286149" y="4170432"/>
            <a:ext cx="153118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800" b="1" dirty="0" err="1" smtClean="0">
                <a:solidFill>
                  <a:prstClr val="black"/>
                </a:solidFill>
                <a:latin typeface="Arial"/>
                <a:ea typeface="ＭＳ Ｐゴシック"/>
                <a:cs typeface="+mn-cs"/>
              </a:rPr>
              <a:t>Mahdollinen</a:t>
            </a:r>
            <a:endParaRPr lang="en-GB" sz="1800" b="1" dirty="0">
              <a:solidFill>
                <a:prstClr val="black"/>
              </a:solidFill>
              <a:latin typeface="Arial"/>
              <a:ea typeface="ＭＳ Ｐゴシック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800" b="1" dirty="0" err="1" smtClean="0">
                <a:solidFill>
                  <a:prstClr val="black"/>
                </a:solidFill>
                <a:latin typeface="Arial"/>
                <a:ea typeface="ＭＳ Ｐゴシック"/>
                <a:cs typeface="+mn-cs"/>
              </a:rPr>
              <a:t>hyöty</a:t>
            </a:r>
            <a:endParaRPr lang="en-GB" sz="1800" dirty="0">
              <a:solidFill>
                <a:prstClr val="black"/>
              </a:solidFill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5794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>
                <a:solidFill>
                  <a:srgbClr val="001177"/>
                </a:solidFill>
              </a:rPr>
              <a:t>Keksijän oikeudet ja velvollisuudet</a:t>
            </a:r>
            <a:endParaRPr lang="fi-FI" dirty="0">
              <a:solidFill>
                <a:srgbClr val="001177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800" y="984737"/>
            <a:ext cx="6408000" cy="3959051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60000"/>
              </a:lnSpc>
            </a:pPr>
            <a:r>
              <a:rPr lang="fi-FI" dirty="0">
                <a:solidFill>
                  <a:srgbClr val="FF0000"/>
                </a:solidFill>
              </a:rPr>
              <a:t>Työsuhdekeksintölain </a:t>
            </a:r>
            <a:r>
              <a:rPr lang="fi-FI" dirty="0" smtClean="0">
                <a:solidFill>
                  <a:srgbClr val="FF0000"/>
                </a:solidFill>
              </a:rPr>
              <a:t>(</a:t>
            </a:r>
            <a:r>
              <a:rPr lang="fi-FI" dirty="0">
                <a:solidFill>
                  <a:srgbClr val="FF0000"/>
                </a:solidFill>
              </a:rPr>
              <a:t>Laki oikeudesta </a:t>
            </a:r>
            <a:r>
              <a:rPr lang="fi-FI" dirty="0" smtClean="0">
                <a:solidFill>
                  <a:srgbClr val="FF0000"/>
                </a:solidFill>
              </a:rPr>
              <a:t>työntekijän tekemiin keksintöihin) perusteella </a:t>
            </a:r>
            <a:r>
              <a:rPr lang="fi-FI" dirty="0">
                <a:solidFill>
                  <a:srgbClr val="FF0000"/>
                </a:solidFill>
              </a:rPr>
              <a:t>työsuhteessa tehdystä keksinnöstä on ilmoitettava </a:t>
            </a:r>
            <a:r>
              <a:rPr lang="fi-FI" dirty="0" smtClean="0">
                <a:solidFill>
                  <a:srgbClr val="FF0000"/>
                </a:solidFill>
              </a:rPr>
              <a:t>työnantajalle</a:t>
            </a:r>
            <a:br>
              <a:rPr lang="fi-FI" dirty="0" smtClean="0">
                <a:solidFill>
                  <a:srgbClr val="FF0000"/>
                </a:solidFill>
              </a:rPr>
            </a:br>
            <a:endParaRPr lang="fi-FI" dirty="0" smtClean="0"/>
          </a:p>
          <a:p>
            <a:pPr>
              <a:lnSpc>
                <a:spcPct val="160000"/>
              </a:lnSpc>
            </a:pPr>
            <a:r>
              <a:rPr lang="fi-FI" dirty="0" smtClean="0"/>
              <a:t>Työnantajalla on mahdollisuus ottaa eritasoisia </a:t>
            </a:r>
            <a:r>
              <a:rPr lang="fi-FI" dirty="0"/>
              <a:t>oikeuksia </a:t>
            </a:r>
            <a:r>
              <a:rPr lang="fi-FI" dirty="0" smtClean="0"/>
              <a:t>keksintöön (keksintöohjesääntö):</a:t>
            </a:r>
          </a:p>
          <a:p>
            <a:pPr lvl="1">
              <a:lnSpc>
                <a:spcPct val="160000"/>
              </a:lnSpc>
            </a:pPr>
            <a:r>
              <a:rPr lang="fi-FI" sz="1600" dirty="0" smtClean="0"/>
              <a:t>kaikki oikeudet</a:t>
            </a:r>
          </a:p>
          <a:p>
            <a:pPr lvl="1">
              <a:lnSpc>
                <a:spcPct val="160000"/>
              </a:lnSpc>
            </a:pPr>
            <a:r>
              <a:rPr lang="fi-FI" sz="1600" dirty="0"/>
              <a:t>k</a:t>
            </a:r>
            <a:r>
              <a:rPr lang="fi-FI" sz="1600" dirty="0" smtClean="0"/>
              <a:t>äyttöoikeus</a:t>
            </a:r>
          </a:p>
          <a:p>
            <a:pPr lvl="1">
              <a:lnSpc>
                <a:spcPct val="160000"/>
              </a:lnSpc>
            </a:pPr>
            <a:r>
              <a:rPr lang="fi-FI" sz="1600" dirty="0" smtClean="0"/>
              <a:t>etuoikeus neuvotella</a:t>
            </a:r>
          </a:p>
          <a:p>
            <a:pPr lvl="1">
              <a:lnSpc>
                <a:spcPct val="160000"/>
              </a:lnSpc>
            </a:pPr>
            <a:r>
              <a:rPr lang="fi-FI" sz="1600" dirty="0" smtClean="0"/>
              <a:t>ei </a:t>
            </a:r>
            <a:r>
              <a:rPr lang="fi-FI" sz="1600" dirty="0"/>
              <a:t>mitään oikeuksia</a:t>
            </a:r>
            <a:br>
              <a:rPr lang="fi-FI" sz="1600" dirty="0"/>
            </a:br>
            <a:endParaRPr lang="fi-FI" sz="1600" dirty="0" smtClean="0"/>
          </a:p>
          <a:p>
            <a:pPr>
              <a:lnSpc>
                <a:spcPct val="160000"/>
              </a:lnSpc>
            </a:pPr>
            <a:r>
              <a:rPr lang="fi-FI" dirty="0" smtClean="0"/>
              <a:t>Keksijälle kuuluu kohtuullinen korvaus (korvausohjesääntö):</a:t>
            </a:r>
          </a:p>
          <a:p>
            <a:pPr lvl="1">
              <a:lnSpc>
                <a:spcPct val="160000"/>
              </a:lnSpc>
            </a:pPr>
            <a:r>
              <a:rPr lang="fi-FI" dirty="0" smtClean="0"/>
              <a:t>korvausten suuruus</a:t>
            </a:r>
          </a:p>
          <a:p>
            <a:pPr lvl="1">
              <a:lnSpc>
                <a:spcPct val="160000"/>
              </a:lnSpc>
            </a:pPr>
            <a:r>
              <a:rPr lang="fi-FI" dirty="0" smtClean="0"/>
              <a:t>keksijän </a:t>
            </a:r>
            <a:r>
              <a:rPr lang="fi-FI" dirty="0"/>
              <a:t>oikeudet ja velvollisuudet</a:t>
            </a:r>
          </a:p>
        </p:txBody>
      </p:sp>
    </p:spTree>
    <p:extLst>
      <p:ext uri="{BB962C8B-B14F-4D97-AF65-F5344CB8AC3E}">
        <p14:creationId xmlns:p14="http://schemas.microsoft.com/office/powerpoint/2010/main" val="1553773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>
                <a:solidFill>
                  <a:srgbClr val="001177"/>
                </a:solidFill>
              </a:rPr>
              <a:t>Patentit tiedonlähteenä</a:t>
            </a:r>
            <a:endParaRPr lang="fi-FI" dirty="0">
              <a:solidFill>
                <a:srgbClr val="001177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800" y="1223999"/>
            <a:ext cx="6408000" cy="3599209"/>
          </a:xfrm>
        </p:spPr>
        <p:txBody>
          <a:bodyPr>
            <a:normAutofit fontScale="47500" lnSpcReduction="20000"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fi-FI" b="1" dirty="0">
                <a:solidFill>
                  <a:srgbClr val="FF0000"/>
                </a:solidFill>
              </a:rPr>
              <a:t>Olemassa olevien  patenttien selvittäminen on olennainen osa jokaista T&amp;K projektia </a:t>
            </a:r>
            <a:r>
              <a:rPr lang="fi-FI" b="1" dirty="0"/>
              <a:t/>
            </a:r>
            <a:br>
              <a:rPr lang="fi-FI" b="1" dirty="0"/>
            </a:br>
            <a:r>
              <a:rPr lang="fi-FI" b="1" dirty="0"/>
              <a:t/>
            </a:r>
            <a:br>
              <a:rPr lang="fi-FI" b="1" dirty="0"/>
            </a:br>
            <a:r>
              <a:rPr lang="fi-FI" dirty="0"/>
              <a:t>- Vaihtokauppa keksijän ja yhteiskunnan välillä, keksijä paljastaa keksinnön mutta saa tästä vastineena ajallisesti rajoitetun </a:t>
            </a:r>
            <a:r>
              <a:rPr lang="fi-FI" dirty="0" smtClean="0"/>
              <a:t>kielto-oikeuden</a:t>
            </a:r>
            <a:r>
              <a:rPr lang="fi-FI" b="1" dirty="0"/>
              <a:t/>
            </a:r>
            <a:br>
              <a:rPr lang="fi-FI" b="1" dirty="0"/>
            </a:br>
            <a:r>
              <a:rPr lang="fi-FI" b="1" dirty="0"/>
              <a:t/>
            </a:r>
            <a:br>
              <a:rPr lang="fi-FI" b="1" dirty="0"/>
            </a:br>
            <a:r>
              <a:rPr lang="fi-FI" dirty="0"/>
              <a:t>=&gt; patenttihakemukset ovat julkisia vähintään 1,5 vuoden kuluttua </a:t>
            </a:r>
            <a:r>
              <a:rPr lang="fi-FI" b="1" dirty="0"/>
              <a:t/>
            </a:r>
            <a:br>
              <a:rPr lang="fi-FI" b="1" dirty="0"/>
            </a:br>
            <a:r>
              <a:rPr lang="fi-FI" dirty="0"/>
              <a:t/>
            </a:r>
            <a:br>
              <a:rPr lang="fi-FI" dirty="0"/>
            </a:br>
            <a:r>
              <a:rPr lang="fi-FI" dirty="0"/>
              <a:t>=&gt; Merkittävä osa uudesta teknisestä tiedosta löytyy vain patenttijulkaisuista</a:t>
            </a:r>
            <a:br>
              <a:rPr lang="fi-FI" dirty="0"/>
            </a:br>
            <a:r>
              <a:rPr lang="fi-FI" dirty="0"/>
              <a:t/>
            </a:r>
            <a:br>
              <a:rPr lang="fi-FI" dirty="0"/>
            </a:br>
            <a:r>
              <a:rPr lang="fi-FI" dirty="0"/>
              <a:t>- Ei kannata investoida sellaisen asian kehittämiseen, jonka joku on jo kehittänyt ja patentoinut vs. ei kannata rakentaa taloa toisen tontille</a:t>
            </a:r>
            <a:br>
              <a:rPr lang="fi-FI" dirty="0"/>
            </a:br>
            <a:r>
              <a:rPr lang="fi-FI" dirty="0"/>
              <a:t/>
            </a:r>
            <a:br>
              <a:rPr lang="fi-FI" dirty="0"/>
            </a:br>
            <a:r>
              <a:rPr lang="fi-FI" dirty="0"/>
              <a:t>- Muiden keksintöjä voi parantaa =&gt; Uusi patentti ei kuitenkaan poista aikaisempia kielto-oikeuksia</a:t>
            </a:r>
          </a:p>
        </p:txBody>
      </p:sp>
    </p:spTree>
    <p:extLst>
      <p:ext uri="{BB962C8B-B14F-4D97-AF65-F5344CB8AC3E}">
        <p14:creationId xmlns:p14="http://schemas.microsoft.com/office/powerpoint/2010/main" val="1152897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>
                <a:solidFill>
                  <a:srgbClr val="001177"/>
                </a:solidFill>
              </a:rPr>
              <a:t>Kilpailijoiden patenttien huomioiminen (1)</a:t>
            </a:r>
            <a:endParaRPr lang="fi-FI" dirty="0">
              <a:solidFill>
                <a:srgbClr val="001177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40000" lnSpcReduction="20000"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fi-FI" b="1" dirty="0">
                <a:solidFill>
                  <a:srgbClr val="FF0000"/>
                </a:solidFill>
              </a:rPr>
              <a:t>Riskitaso on tiedettävä ennen investointeja ja </a:t>
            </a:r>
            <a:r>
              <a:rPr lang="fi-FI" b="1" dirty="0" smtClean="0">
                <a:solidFill>
                  <a:srgbClr val="FF0000"/>
                </a:solidFill>
              </a:rPr>
              <a:t>myyntiä. Oma </a:t>
            </a:r>
            <a:r>
              <a:rPr lang="fi-FI" b="1" dirty="0">
                <a:solidFill>
                  <a:srgbClr val="FF0000"/>
                </a:solidFill>
              </a:rPr>
              <a:t>patentointi </a:t>
            </a:r>
            <a:r>
              <a:rPr lang="fi-FI" b="1" dirty="0" smtClean="0">
                <a:solidFill>
                  <a:srgbClr val="FF0000"/>
                </a:solidFill>
              </a:rPr>
              <a:t>alentaa </a:t>
            </a:r>
            <a:r>
              <a:rPr lang="fi-FI" b="1" dirty="0">
                <a:solidFill>
                  <a:srgbClr val="FF0000"/>
                </a:solidFill>
              </a:rPr>
              <a:t>merkittävästi riskitasoa</a:t>
            </a:r>
            <a:br>
              <a:rPr lang="fi-FI" b="1" dirty="0">
                <a:solidFill>
                  <a:srgbClr val="FF0000"/>
                </a:solidFill>
              </a:rPr>
            </a:br>
            <a:r>
              <a:rPr lang="en-US" dirty="0"/>
              <a:t/>
            </a:r>
            <a:br>
              <a:rPr lang="en-US" dirty="0"/>
            </a:br>
            <a:r>
              <a:rPr lang="fi-FI" dirty="0"/>
              <a:t>Mitä tehdä, jos kilpailijan patenttisuoja haittaa liiketoimintaa?</a:t>
            </a:r>
            <a:br>
              <a:rPr lang="fi-FI" dirty="0"/>
            </a:br>
            <a:r>
              <a:rPr lang="fi-FI" dirty="0"/>
              <a:t/>
            </a:r>
            <a:br>
              <a:rPr lang="fi-FI" dirty="0"/>
            </a:br>
            <a:r>
              <a:rPr lang="fi-FI" dirty="0"/>
              <a:t>Selvitettävä lähtökohdat: </a:t>
            </a:r>
            <a:br>
              <a:rPr lang="fi-FI" dirty="0"/>
            </a:br>
            <a:r>
              <a:rPr lang="fi-FI" dirty="0"/>
              <a:t>Patentti vai hakemus?</a:t>
            </a:r>
            <a:br>
              <a:rPr lang="fi-FI" dirty="0"/>
            </a:br>
            <a:r>
              <a:rPr lang="fi-FI" dirty="0"/>
              <a:t>Maantieteellinen ulottuvuus?</a:t>
            </a:r>
            <a:br>
              <a:rPr lang="fi-FI" dirty="0"/>
            </a:br>
            <a:r>
              <a:rPr lang="fi-FI" dirty="0"/>
              <a:t>Tuote/menetelmä, jota halutaan valmistaa/käyttää?</a:t>
            </a:r>
            <a:br>
              <a:rPr lang="fi-FI" dirty="0"/>
            </a:br>
            <a:r>
              <a:rPr lang="fi-FI" dirty="0"/>
              <a:t/>
            </a:r>
            <a:br>
              <a:rPr lang="fi-FI" dirty="0"/>
            </a:br>
            <a:r>
              <a:rPr lang="fi-FI" dirty="0"/>
              <a:t>Ulkopuolinen lausunto validiteetista (US)</a:t>
            </a:r>
            <a:br>
              <a:rPr lang="fi-FI" dirty="0"/>
            </a:br>
            <a:r>
              <a:rPr lang="fi-FI" dirty="0"/>
              <a:t/>
            </a:r>
            <a:br>
              <a:rPr lang="fi-FI" dirty="0"/>
            </a:br>
            <a:r>
              <a:rPr lang="fi-FI" dirty="0"/>
              <a:t>oikeuksien </a:t>
            </a:r>
            <a:r>
              <a:rPr lang="fi-FI" dirty="0" smtClean="0"/>
              <a:t>osto</a:t>
            </a:r>
          </a:p>
          <a:p>
            <a:pPr>
              <a:lnSpc>
                <a:spcPct val="170000"/>
              </a:lnSpc>
            </a:pPr>
            <a:r>
              <a:rPr lang="fi-FI" dirty="0" smtClean="0"/>
              <a:t>ristiin lisensiointi</a:t>
            </a:r>
          </a:p>
          <a:p>
            <a:pPr>
              <a:lnSpc>
                <a:spcPct val="170000"/>
              </a:lnSpc>
            </a:pPr>
            <a:r>
              <a:rPr lang="fi-FI" dirty="0" smtClean="0"/>
              <a:t>patentin </a:t>
            </a:r>
            <a:r>
              <a:rPr lang="fi-FI" dirty="0"/>
              <a:t>kiertäminen</a:t>
            </a:r>
            <a:br>
              <a:rPr lang="fi-FI" dirty="0"/>
            </a:br>
            <a:r>
              <a:rPr lang="fi-FI" dirty="0" smtClean="0"/>
              <a:t>ideasta </a:t>
            </a:r>
            <a:r>
              <a:rPr lang="fi-FI" dirty="0"/>
              <a:t>luopuminen</a:t>
            </a:r>
            <a:br>
              <a:rPr lang="fi-FI" dirty="0"/>
            </a:b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80391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>
                <a:solidFill>
                  <a:srgbClr val="001177"/>
                </a:solidFill>
              </a:rPr>
              <a:t>Kilpailijoiden patenttien huomioiminen </a:t>
            </a:r>
            <a:r>
              <a:rPr lang="fi-FI" dirty="0" smtClean="0">
                <a:solidFill>
                  <a:srgbClr val="001177"/>
                </a:solidFill>
              </a:rPr>
              <a:t>(2)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>
              <a:lnSpc>
                <a:spcPct val="120000"/>
              </a:lnSpc>
            </a:pPr>
            <a:r>
              <a:rPr lang="fi-FI" dirty="0"/>
              <a:t>Yrityksessä on tuotekehitystä =&gt; kilpailijan patentointia on jatkuvasti </a:t>
            </a:r>
            <a:r>
              <a:rPr lang="fi-FI" dirty="0" smtClean="0"/>
              <a:t>seurattava</a:t>
            </a:r>
            <a:br>
              <a:rPr lang="fi-FI" dirty="0" smtClean="0"/>
            </a:br>
            <a:endParaRPr lang="fi-FI" dirty="0" smtClean="0"/>
          </a:p>
          <a:p>
            <a:pPr>
              <a:lnSpc>
                <a:spcPct val="120000"/>
              </a:lnSpc>
            </a:pPr>
            <a:r>
              <a:rPr lang="fi-FI" dirty="0" smtClean="0"/>
              <a:t>Virastot </a:t>
            </a:r>
            <a:r>
              <a:rPr lang="fi-FI" dirty="0"/>
              <a:t>myöntävät yhä herkemmin </a:t>
            </a:r>
            <a:r>
              <a:rPr lang="fi-FI" dirty="0" smtClean="0"/>
              <a:t>patentteja</a:t>
            </a:r>
            <a:br>
              <a:rPr lang="fi-FI" dirty="0" smtClean="0"/>
            </a:br>
            <a:endParaRPr lang="fi-FI" dirty="0" smtClean="0"/>
          </a:p>
          <a:p>
            <a:pPr>
              <a:lnSpc>
                <a:spcPct val="120000"/>
              </a:lnSpc>
            </a:pPr>
            <a:r>
              <a:rPr lang="fi-FI" dirty="0" smtClean="0"/>
              <a:t>Puuttuminen </a:t>
            </a:r>
            <a:r>
              <a:rPr lang="fi-FI" dirty="0"/>
              <a:t>kilpailijalle oikeudettomasti myönnettyihin </a:t>
            </a:r>
            <a:r>
              <a:rPr lang="fi-FI" dirty="0" smtClean="0"/>
              <a:t>patentteihin</a:t>
            </a:r>
            <a:br>
              <a:rPr lang="fi-FI" dirty="0" smtClean="0"/>
            </a:br>
            <a:endParaRPr lang="fi-FI" dirty="0" smtClean="0"/>
          </a:p>
          <a:p>
            <a:pPr>
              <a:lnSpc>
                <a:spcPct val="120000"/>
              </a:lnSpc>
            </a:pPr>
            <a:r>
              <a:rPr lang="fi-FI" dirty="0" smtClean="0"/>
              <a:t>Patentin mitätöinti</a:t>
            </a:r>
            <a:br>
              <a:rPr lang="fi-FI" dirty="0" smtClean="0"/>
            </a:br>
            <a:endParaRPr lang="fi-FI" dirty="0" smtClean="0"/>
          </a:p>
          <a:p>
            <a:pPr>
              <a:lnSpc>
                <a:spcPct val="120000"/>
              </a:lnSpc>
            </a:pPr>
            <a:r>
              <a:rPr lang="fi-FI" dirty="0" smtClean="0"/>
              <a:t>Kahdenkeskiset sopimukset</a:t>
            </a:r>
            <a:br>
              <a:rPr lang="fi-FI" dirty="0" smtClean="0"/>
            </a:br>
            <a:endParaRPr lang="fi-FI" dirty="0" smtClean="0"/>
          </a:p>
          <a:p>
            <a:pPr>
              <a:lnSpc>
                <a:spcPct val="120000"/>
              </a:lnSpc>
            </a:pPr>
            <a:r>
              <a:rPr lang="fi-FI" dirty="0" smtClean="0"/>
              <a:t>Hiljaiset </a:t>
            </a:r>
            <a:r>
              <a:rPr lang="fi-FI" dirty="0"/>
              <a:t>vastatoimet</a:t>
            </a:r>
            <a:br>
              <a:rPr lang="fi-FI" dirty="0"/>
            </a:b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58887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0" y="838200"/>
            <a:ext cx="9144000" cy="38862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fi-FI" sz="1350" dirty="0">
              <a:solidFill>
                <a:srgbClr val="FFFFFF"/>
              </a:solidFill>
            </a:endParaRPr>
          </a:p>
        </p:txBody>
      </p:sp>
      <p:sp>
        <p:nvSpPr>
          <p:cNvPr id="9" name="Snip and Round Single Corner Rectangle 8"/>
          <p:cNvSpPr/>
          <p:nvPr/>
        </p:nvSpPr>
        <p:spPr>
          <a:xfrm rot="10800000">
            <a:off x="1034980" y="984738"/>
            <a:ext cx="6400474" cy="3330087"/>
          </a:xfrm>
          <a:prstGeom prst="snipRoundRect">
            <a:avLst>
              <a:gd name="adj1" fmla="val 16338"/>
              <a:gd name="adj2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noProof="1">
              <a:solidFill>
                <a:srgbClr val="FFFFFF"/>
              </a:solidFill>
            </a:endParaRPr>
          </a:p>
        </p:txBody>
      </p:sp>
      <p:sp>
        <p:nvSpPr>
          <p:cNvPr id="101379" name="Title 5"/>
          <p:cNvSpPr>
            <a:spLocks noGrp="1"/>
          </p:cNvSpPr>
          <p:nvPr>
            <p:ph type="title"/>
          </p:nvPr>
        </p:nvSpPr>
        <p:spPr>
          <a:xfrm>
            <a:off x="1656160" y="96441"/>
            <a:ext cx="6063853" cy="653653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fi-FI" sz="2625" spc="-30" dirty="0">
                <a:solidFill>
                  <a:srgbClr val="001177"/>
                </a:solidFill>
              </a:rPr>
              <a:t>Kilpailuetua huippuluokan tutkimuksesta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1296238" y="984738"/>
            <a:ext cx="5824892" cy="3395572"/>
          </a:xfrm>
        </p:spPr>
        <p:txBody>
          <a:bodyPr/>
          <a:lstStyle/>
          <a:p>
            <a:pPr eaLnBrk="1" hangingPunct="1">
              <a:buClr>
                <a:srgbClr val="66DD00"/>
              </a:buClr>
              <a:buFont typeface="Arial" pitchFamily="37" charset="-52"/>
              <a:buChar char="•"/>
              <a:defRPr/>
            </a:pPr>
            <a:r>
              <a:rPr lang="fi-FI" sz="1350" dirty="0">
                <a:solidFill>
                  <a:srgbClr val="666666"/>
                </a:solidFill>
              </a:rPr>
              <a:t>Oma tutkimus- ja </a:t>
            </a:r>
            <a:r>
              <a:rPr lang="fi-FI" sz="1350" dirty="0" smtClean="0">
                <a:solidFill>
                  <a:srgbClr val="666666"/>
                </a:solidFill>
              </a:rPr>
              <a:t>kehitysyksikkömme </a:t>
            </a:r>
            <a:r>
              <a:rPr lang="fi-FI" sz="1350" dirty="0">
                <a:solidFill>
                  <a:srgbClr val="666666"/>
                </a:solidFill>
              </a:rPr>
              <a:t>kehittää jalostusprosesseja, katalyyttejä, teknologioita ja tuotteita</a:t>
            </a:r>
            <a:br>
              <a:rPr lang="fi-FI" sz="1350" dirty="0">
                <a:solidFill>
                  <a:srgbClr val="666666"/>
                </a:solidFill>
              </a:rPr>
            </a:br>
            <a:endParaRPr lang="fi-FI" sz="1350" dirty="0">
              <a:solidFill>
                <a:srgbClr val="666666"/>
              </a:solidFill>
            </a:endParaRPr>
          </a:p>
          <a:p>
            <a:pPr eaLnBrk="1" hangingPunct="1">
              <a:buClr>
                <a:srgbClr val="66DD00"/>
              </a:buClr>
              <a:buFont typeface="Arial" pitchFamily="37" charset="-52"/>
              <a:buChar char="•"/>
              <a:defRPr/>
            </a:pPr>
            <a:r>
              <a:rPr lang="fi-FI" sz="1350" dirty="0">
                <a:solidFill>
                  <a:srgbClr val="666666"/>
                </a:solidFill>
              </a:rPr>
              <a:t>Tällä hetkellä tutkimus keskittyy uusiutuvien raaka-aineiden ja niiden </a:t>
            </a:r>
            <a:r>
              <a:rPr lang="fi-FI" sz="1350" dirty="0" smtClean="0">
                <a:solidFill>
                  <a:srgbClr val="666666"/>
                </a:solidFill>
              </a:rPr>
              <a:t>jalostusteknologioiden ja uusiutuvien tuotteiden </a:t>
            </a:r>
            <a:r>
              <a:rPr lang="fi-FI" sz="1350" dirty="0">
                <a:solidFill>
                  <a:srgbClr val="666666"/>
                </a:solidFill>
              </a:rPr>
              <a:t>kehittämiseen </a:t>
            </a:r>
          </a:p>
          <a:p>
            <a:pPr eaLnBrk="1" hangingPunct="1">
              <a:buClr>
                <a:srgbClr val="66DD00"/>
              </a:buClr>
              <a:buFont typeface="Arial" pitchFamily="37" charset="-52"/>
              <a:buNone/>
              <a:defRPr/>
            </a:pPr>
            <a:endParaRPr lang="fi-FI" sz="1350" dirty="0">
              <a:solidFill>
                <a:srgbClr val="666666"/>
              </a:solidFill>
            </a:endParaRPr>
          </a:p>
          <a:p>
            <a:pPr eaLnBrk="1" hangingPunct="1">
              <a:buClr>
                <a:srgbClr val="66DD00"/>
              </a:buClr>
              <a:buFont typeface="Arial" pitchFamily="37" charset="-52"/>
              <a:buChar char="•"/>
              <a:defRPr/>
            </a:pPr>
            <a:r>
              <a:rPr lang="fi-FI" sz="1350" dirty="0">
                <a:solidFill>
                  <a:srgbClr val="666666"/>
                </a:solidFill>
              </a:rPr>
              <a:t>Neste </a:t>
            </a:r>
            <a:r>
              <a:rPr lang="fi-FI" sz="1350" dirty="0" smtClean="0">
                <a:solidFill>
                  <a:srgbClr val="666666"/>
                </a:solidFill>
              </a:rPr>
              <a:t>Oyj </a:t>
            </a:r>
            <a:r>
              <a:rPr lang="fi-FI" sz="1350" dirty="0">
                <a:solidFill>
                  <a:srgbClr val="666666"/>
                </a:solidFill>
              </a:rPr>
              <a:t>tekee yhteistyötä maailman johtavien tutkimuslaitosten ja yritysten kanssa</a:t>
            </a:r>
            <a:br>
              <a:rPr lang="fi-FI" sz="1350" dirty="0">
                <a:solidFill>
                  <a:srgbClr val="666666"/>
                </a:solidFill>
              </a:rPr>
            </a:br>
            <a:endParaRPr lang="fi-FI" sz="1350" dirty="0">
              <a:solidFill>
                <a:srgbClr val="666666"/>
              </a:solidFill>
            </a:endParaRPr>
          </a:p>
          <a:p>
            <a:pPr eaLnBrk="1" hangingPunct="1">
              <a:buClr>
                <a:srgbClr val="66DD00"/>
              </a:buClr>
              <a:buFont typeface="Arial" pitchFamily="37" charset="-52"/>
              <a:buChar char="•"/>
              <a:defRPr/>
            </a:pPr>
            <a:r>
              <a:rPr lang="fi-FI" sz="1350" dirty="0">
                <a:solidFill>
                  <a:srgbClr val="666666"/>
                </a:solidFill>
              </a:rPr>
              <a:t>Neste </a:t>
            </a:r>
            <a:r>
              <a:rPr lang="fi-FI" sz="1350" dirty="0" smtClean="0">
                <a:solidFill>
                  <a:srgbClr val="666666"/>
                </a:solidFill>
              </a:rPr>
              <a:t>Oyj </a:t>
            </a:r>
            <a:r>
              <a:rPr lang="fi-FI" sz="1350" dirty="0">
                <a:solidFill>
                  <a:srgbClr val="666666"/>
                </a:solidFill>
              </a:rPr>
              <a:t>omistaa </a:t>
            </a:r>
            <a:r>
              <a:rPr lang="fi-FI" sz="1350" dirty="0" smtClean="0">
                <a:solidFill>
                  <a:srgbClr val="666666"/>
                </a:solidFill>
              </a:rPr>
              <a:t>suunnitteluyhtiö </a:t>
            </a:r>
            <a:r>
              <a:rPr lang="fi-FI" sz="1350" dirty="0">
                <a:solidFill>
                  <a:srgbClr val="666666"/>
                </a:solidFill>
              </a:rPr>
              <a:t>Neste </a:t>
            </a:r>
            <a:r>
              <a:rPr lang="fi-FI" sz="1350" dirty="0" smtClean="0">
                <a:solidFill>
                  <a:srgbClr val="666666"/>
                </a:solidFill>
              </a:rPr>
              <a:t>Engineering Solutionsin, joka on Pohjoismaiden </a:t>
            </a:r>
            <a:r>
              <a:rPr lang="fi-FI" sz="1350" dirty="0">
                <a:solidFill>
                  <a:srgbClr val="666666"/>
                </a:solidFill>
              </a:rPr>
              <a:t>suurin ja kokenein öljy- ja kemianteollisuuden suunnitteluyritys, jolla on lähes 1 000 alan ammattilaista</a:t>
            </a:r>
          </a:p>
          <a:p>
            <a:pPr eaLnBrk="1" hangingPunct="1">
              <a:buClr>
                <a:srgbClr val="66DD00"/>
              </a:buClr>
              <a:buFont typeface="Arial" pitchFamily="37" charset="-52"/>
              <a:buChar char="•"/>
              <a:defRPr/>
            </a:pPr>
            <a:endParaRPr lang="fi-FI" sz="1350" dirty="0">
              <a:solidFill>
                <a:srgbClr val="666666"/>
              </a:solidFill>
            </a:endParaRPr>
          </a:p>
        </p:txBody>
      </p:sp>
      <p:sp>
        <p:nvSpPr>
          <p:cNvPr id="166917" name="Date Placeholder 2"/>
          <p:cNvSpPr>
            <a:spLocks noGrp="1"/>
          </p:cNvSpPr>
          <p:nvPr>
            <p:ph type="dt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27BE4D5-966B-4F07-A040-E34C61F0D9B3}" type="datetime1">
              <a:rPr lang="fi-FI" smtClean="0">
                <a:solidFill>
                  <a:srgbClr val="666666"/>
                </a:solidFill>
                <a:ea typeface="ＭＳ Ｐゴシック" charset="0"/>
                <a:cs typeface="ＭＳ Ｐゴシック" charset="0"/>
              </a:rPr>
              <a:pPr/>
              <a:t>4.2.2019</a:t>
            </a:fld>
            <a:endParaRPr lang="fi-FI" dirty="0" smtClean="0">
              <a:solidFill>
                <a:srgbClr val="666666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66918" name="Slide Number Placeholder 3"/>
          <p:cNvSpPr>
            <a:spLocks noGrp="1"/>
          </p:cNvSpPr>
          <p:nvPr>
            <p:ph type="sldNum" sz="quarter" idx="1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41CAB37A-7B40-4390-BAE1-8A06E75414F0}" type="slidenum">
              <a:rPr lang="fi-FI" smtClean="0">
                <a:solidFill>
                  <a:srgbClr val="666666"/>
                </a:solidFill>
                <a:ea typeface="ＭＳ Ｐゴシック" charset="0"/>
                <a:cs typeface="ＭＳ Ｐゴシック" charset="0"/>
              </a:rPr>
              <a:pPr/>
              <a:t>37</a:t>
            </a:fld>
            <a:endParaRPr lang="fi-FI" dirty="0" smtClean="0">
              <a:solidFill>
                <a:srgbClr val="666666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66919" name="Footer Placeholder 4"/>
          <p:cNvSpPr>
            <a:spLocks noGrp="1"/>
          </p:cNvSpPr>
          <p:nvPr>
            <p:ph type="ftr" sz="quarter" idx="16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endParaRPr lang="fi-FI" dirty="0" smtClean="0">
              <a:solidFill>
                <a:srgbClr val="666666"/>
              </a:solidFill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402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 rot="21427982">
            <a:off x="1896598" y="1067696"/>
            <a:ext cx="1837315" cy="3463477"/>
            <a:chOff x="159775" y="1423643"/>
            <a:chExt cx="2449753" cy="4617970"/>
          </a:xfrm>
          <a:solidFill>
            <a:schemeClr val="bg1"/>
          </a:solidFill>
        </p:grpSpPr>
        <p:sp>
          <p:nvSpPr>
            <p:cNvPr id="10" name="Rectangle 9"/>
            <p:cNvSpPr/>
            <p:nvPr/>
          </p:nvSpPr>
          <p:spPr>
            <a:xfrm>
              <a:off x="159775" y="1423643"/>
              <a:ext cx="2449753" cy="769441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fi-FI" sz="1050" i="1">
                  <a:solidFill>
                    <a:srgbClr val="666666"/>
                  </a:solidFill>
                  <a:latin typeface="Arial Rounded MT Bold" panose="020F0704030504030204" pitchFamily="34" charset="0"/>
                </a:rPr>
                <a:t>Lars Peter Lindfors valittiin vuoden 2014 teknologiajohtajaksi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3" y="2071295"/>
              <a:ext cx="2088232" cy="3970318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fi-FI" sz="750">
                  <a:solidFill>
                    <a:srgbClr val="666666"/>
                  </a:solidFill>
                </a:rPr>
                <a:t>Tällä kertaa ehdolla oli 17 teknologiajohtajaa eri toimialoilta ja valintakriteereissä painotettiin myös kestävää kehitystä. Neste Oilin Lindfors sai tuomaristolta yksimielistä kannatusta vuoden teknologiajohtajaksi.</a:t>
              </a:r>
            </a:p>
            <a:p>
              <a:endParaRPr lang="fi-FI" sz="750">
                <a:solidFill>
                  <a:srgbClr val="666666"/>
                </a:solidFill>
              </a:endParaRPr>
            </a:p>
            <a:p>
              <a:r>
                <a:rPr lang="fi-FI" sz="750">
                  <a:solidFill>
                    <a:srgbClr val="666666"/>
                  </a:solidFill>
                </a:rPr>
                <a:t>"Lindfors on mittavan Neste-uransa huipentumaksi vienyt loppuun pitkän ja haastavan uusiutuva diesel -projektin, jonka varrella on ollut riskejä ja vastoinkäymisiäkin, mutta määrätietoisen työn ansiosta Neste Oilin on nyt mahdollista tehdä dieseliä biojätteistä ja muista uusiutuvista raaka-aineista. Biotalous on kasvanut tärkeään rooliin niin Neste Oilin, Suomen kuin koko maailmankin mittakaavassa", toteaa tuomariston puheenjohtaja Yrjö Neuvo.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dirty="0" smtClean="0"/>
              <a:t>NEXBTL is a </a:t>
            </a:r>
            <a:r>
              <a:rPr lang="fi-FI" dirty="0" err="1" smtClean="0"/>
              <a:t>groundbreaking</a:t>
            </a:r>
            <a:r>
              <a:rPr lang="fi-FI" dirty="0" smtClean="0"/>
              <a:t> </a:t>
            </a:r>
            <a:r>
              <a:rPr lang="fi-FI" dirty="0" err="1" smtClean="0"/>
              <a:t>innovation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2E7F669-E7D4-40D5-9EF9-FAFD2D64A09D}" type="slidenum">
              <a:rPr lang="fi-FI" smtClean="0">
                <a:solidFill>
                  <a:srgbClr val="666666"/>
                </a:solidFill>
              </a:rPr>
              <a:pPr>
                <a:defRPr/>
              </a:pPr>
              <a:t>38</a:t>
            </a:fld>
            <a:endParaRPr lang="fi-FI">
              <a:solidFill>
                <a:srgbClr val="666666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 rot="899268">
            <a:off x="3385765" y="1139157"/>
            <a:ext cx="3132665" cy="2605700"/>
            <a:chOff x="3273492" y="1744798"/>
            <a:chExt cx="4176886" cy="3474266"/>
          </a:xfrm>
          <a:solidFill>
            <a:schemeClr val="bg1"/>
          </a:solidFill>
        </p:grpSpPr>
        <p:sp>
          <p:nvSpPr>
            <p:cNvPr id="6" name="Rectangle 5"/>
            <p:cNvSpPr/>
            <p:nvPr/>
          </p:nvSpPr>
          <p:spPr>
            <a:xfrm>
              <a:off x="3312368" y="1744798"/>
              <a:ext cx="4129895" cy="846385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fi-FI" sz="1350" b="1">
                  <a:solidFill>
                    <a:srgbClr val="666666"/>
                  </a:solidFill>
                  <a:latin typeface="Rockwell Condensed" panose="02060603050405020104" pitchFamily="18" charset="0"/>
                </a:rPr>
                <a:t>Talouselämä valitsi! 2000-luvun mullistavin bisnesinnovaatio on...</a:t>
              </a:r>
            </a:p>
            <a:p>
              <a:r>
                <a:rPr lang="fi-FI" sz="825">
                  <a:solidFill>
                    <a:srgbClr val="666666"/>
                  </a:solidFill>
                </a:rPr>
                <a:t>Talouselämä 28.2.2014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3492" y="2584931"/>
              <a:ext cx="4176886" cy="2634133"/>
            </a:xfrm>
            <a:prstGeom prst="rect">
              <a:avLst/>
            </a:prstGeom>
            <a:grpFill/>
          </p:spPr>
        </p:pic>
      </p:grpSp>
      <p:sp>
        <p:nvSpPr>
          <p:cNvPr id="12" name="Rectangle 11"/>
          <p:cNvSpPr/>
          <p:nvPr/>
        </p:nvSpPr>
        <p:spPr>
          <a:xfrm rot="21304273">
            <a:off x="4257189" y="3593898"/>
            <a:ext cx="3429000" cy="1200329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r>
              <a:rPr lang="fi-FI" sz="1050">
                <a:solidFill>
                  <a:srgbClr val="666666"/>
                </a:solidFill>
              </a:rPr>
              <a:t>Tekniikka&amp;Talous -lehden Vuoden energiateko -tunnustus Neste Oilin Lars Peter Lindforsille</a:t>
            </a:r>
          </a:p>
          <a:p>
            <a:endParaRPr lang="fi-FI" sz="1350">
              <a:solidFill>
                <a:srgbClr val="666666"/>
              </a:solidFill>
            </a:endParaRPr>
          </a:p>
          <a:p>
            <a:r>
              <a:rPr lang="fi-FI" sz="750">
                <a:solidFill>
                  <a:srgbClr val="666666"/>
                </a:solidFill>
              </a:rPr>
              <a:t>Tekniikka&amp;Talous -lehti myönsi torstaina 12.9.2013 Neste Oilin teknologiajohtaja TkT, MBA Lars Peter Lindforsille Vuoden energiateko -tunnustuspalkinnon. Lindfors palkittiin määrätietoisesta ja johdonmukaisesta työstä, jolla Neste Oil on etsinyt uusia raaka-aineita uusiutuvien polttoaineiden tuotantoon.</a:t>
            </a:r>
          </a:p>
        </p:txBody>
      </p:sp>
    </p:spTree>
    <p:extLst>
      <p:ext uri="{BB962C8B-B14F-4D97-AF65-F5344CB8AC3E}">
        <p14:creationId xmlns:p14="http://schemas.microsoft.com/office/powerpoint/2010/main" val="2560872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853" y="681540"/>
            <a:ext cx="6257495" cy="426647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522016" y="210835"/>
            <a:ext cx="5954194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350" dirty="0">
                <a:solidFill>
                  <a:prstClr val="black"/>
                </a:solidFill>
                <a:latin typeface="Calibri"/>
              </a:rPr>
              <a:t>EP1396531 (Neste </a:t>
            </a:r>
            <a:r>
              <a:rPr lang="fi-FI" sz="1350" dirty="0" err="1">
                <a:solidFill>
                  <a:prstClr val="black"/>
                </a:solidFill>
                <a:latin typeface="Calibri"/>
              </a:rPr>
              <a:t>Oil</a:t>
            </a:r>
            <a:r>
              <a:rPr lang="fi-FI" sz="1350" dirty="0">
                <a:solidFill>
                  <a:prstClr val="black"/>
                </a:solidFill>
                <a:latin typeface="Calibri"/>
              </a:rPr>
              <a:t>) jossa olemme viitanneet FI100248 julkaisuun (</a:t>
            </a:r>
            <a:r>
              <a:rPr lang="fi-FI" sz="1350" dirty="0" err="1">
                <a:solidFill>
                  <a:prstClr val="black"/>
                </a:solidFill>
                <a:latin typeface="Calibri"/>
              </a:rPr>
              <a:t>Backward</a:t>
            </a:r>
            <a:r>
              <a:rPr lang="fi-FI" sz="1350" dirty="0">
                <a:solidFill>
                  <a:prstClr val="black"/>
                </a:solidFill>
                <a:latin typeface="Calibri"/>
              </a:rPr>
              <a:t>) ja</a:t>
            </a:r>
          </a:p>
          <a:p>
            <a:r>
              <a:rPr lang="fi-FI" sz="1350" dirty="0">
                <a:solidFill>
                  <a:prstClr val="black"/>
                </a:solidFill>
                <a:latin typeface="Calibri"/>
              </a:rPr>
              <a:t> muiden hakemusten viittaukset (</a:t>
            </a:r>
            <a:r>
              <a:rPr lang="fi-FI" sz="1350" dirty="0" err="1">
                <a:solidFill>
                  <a:prstClr val="black"/>
                </a:solidFill>
                <a:latin typeface="Calibri"/>
              </a:rPr>
              <a:t>Forward</a:t>
            </a:r>
            <a:r>
              <a:rPr lang="fi-FI" sz="1350" dirty="0">
                <a:solidFill>
                  <a:prstClr val="black"/>
                </a:solidFill>
                <a:latin typeface="Calibri"/>
              </a:rPr>
              <a:t>) meidän EP hakemukseen</a:t>
            </a:r>
          </a:p>
        </p:txBody>
      </p:sp>
    </p:spTree>
    <p:extLst>
      <p:ext uri="{BB962C8B-B14F-4D97-AF65-F5344CB8AC3E}">
        <p14:creationId xmlns:p14="http://schemas.microsoft.com/office/powerpoint/2010/main" val="3417025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Kuvan paikkamerkki 11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77" b="15677"/>
          <a:stretch>
            <a:fillRect/>
          </a:stretch>
        </p:blipFill>
        <p:spPr/>
      </p:pic>
      <p:sp>
        <p:nvSpPr>
          <p:cNvPr id="6" name="Title 1"/>
          <p:cNvSpPr txBox="1">
            <a:spLocks/>
          </p:cNvSpPr>
          <p:nvPr/>
        </p:nvSpPr>
        <p:spPr>
          <a:xfrm>
            <a:off x="813436" y="1451736"/>
            <a:ext cx="3568064" cy="1158450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i="0" kern="1200" baseline="0">
                <a:solidFill>
                  <a:schemeClr val="tx1"/>
                </a:solidFill>
                <a:latin typeface="Trebuchet MS"/>
                <a:ea typeface="+mj-ea"/>
                <a:cs typeface="Trebuchet MS"/>
              </a:defRPr>
            </a:lvl1pPr>
          </a:lstStyle>
          <a:p>
            <a:r>
              <a:rPr lang="en-US" dirty="0" err="1" smtClean="0">
                <a:solidFill>
                  <a:schemeClr val="bg1"/>
                </a:solidFill>
              </a:rPr>
              <a:t>Luomme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vastuullisia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vaihtoehtoja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joka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päivä</a:t>
            </a:r>
            <a:r>
              <a:rPr lang="en-US" dirty="0" smtClean="0">
                <a:solidFill>
                  <a:schemeClr val="bg1"/>
                </a:solidFill>
              </a:rPr>
              <a:t>.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80363" y="1579809"/>
            <a:ext cx="231971" cy="248284"/>
            <a:chOff x="5144915" y="1644876"/>
            <a:chExt cx="170944" cy="182964"/>
          </a:xfrm>
        </p:grpSpPr>
        <p:sp>
          <p:nvSpPr>
            <p:cNvPr id="8" name="Teardrop 7"/>
            <p:cNvSpPr/>
            <p:nvPr/>
          </p:nvSpPr>
          <p:spPr>
            <a:xfrm>
              <a:off x="5144915" y="1644876"/>
              <a:ext cx="103026" cy="103026"/>
            </a:xfrm>
            <a:prstGeom prst="teardrop">
              <a:avLst/>
            </a:prstGeom>
            <a:solidFill>
              <a:schemeClr val="bg1">
                <a:alpha val="7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b="1" dirty="0"/>
            </a:p>
          </p:txBody>
        </p:sp>
        <p:sp>
          <p:nvSpPr>
            <p:cNvPr id="9" name="Teardrop 8"/>
            <p:cNvSpPr/>
            <p:nvPr/>
          </p:nvSpPr>
          <p:spPr>
            <a:xfrm>
              <a:off x="5174963" y="1686944"/>
              <a:ext cx="140896" cy="140896"/>
            </a:xfrm>
            <a:prstGeom prst="teardrop">
              <a:avLst/>
            </a:prstGeom>
            <a:solidFill>
              <a:schemeClr val="bg1">
                <a:alpha val="7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b="1" dirty="0"/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>
          <a:xfrm>
            <a:off x="813436" y="1091740"/>
            <a:ext cx="2161918" cy="403343"/>
          </a:xfrm>
          <a:prstGeom prst="rect">
            <a:avLst/>
          </a:prstGeom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i="0" kern="1200" baseline="0">
                <a:solidFill>
                  <a:schemeClr val="tx1"/>
                </a:solidFill>
                <a:latin typeface="Trebuchet MS"/>
                <a:ea typeface="+mj-ea"/>
                <a:cs typeface="Trebuchet MS"/>
              </a:defRPr>
            </a:lvl1pPr>
          </a:lstStyle>
          <a:p>
            <a:r>
              <a:rPr lang="en-US" sz="1500" dirty="0" smtClean="0">
                <a:solidFill>
                  <a:schemeClr val="bg1"/>
                </a:solidFill>
              </a:rPr>
              <a:t>VISIOMME:</a:t>
            </a:r>
            <a:endParaRPr lang="en-US" sz="15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969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i-FI" dirty="0" smtClean="0">
                <a:solidFill>
                  <a:srgbClr val="001177"/>
                </a:solidFill>
              </a:rPr>
              <a:t>Yhteenveto</a:t>
            </a:r>
            <a:endParaRPr lang="fi-FI" dirty="0">
              <a:solidFill>
                <a:srgbClr val="001177"/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800" y="1274242"/>
            <a:ext cx="8654400" cy="330835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64868" y="1294339"/>
            <a:ext cx="8414263" cy="1909305"/>
          </a:xfrm>
          <a:prstGeom prst="rect">
            <a:avLst/>
          </a:prstGeom>
          <a:noFill/>
        </p:spPr>
        <p:txBody>
          <a:bodyPr wrap="none" lIns="108000" tIns="46800" rIns="108000" rtlCol="0">
            <a:spAutoFit/>
          </a:bodyPr>
          <a:lstStyle/>
          <a:p>
            <a:pPr algn="ctr"/>
            <a:r>
              <a:rPr lang="fi-FI" sz="2000" b="1" dirty="0"/>
              <a:t/>
            </a:r>
            <a:br>
              <a:rPr lang="fi-FI" sz="2000" b="1" dirty="0"/>
            </a:br>
            <a:r>
              <a:rPr lang="fi-FI" sz="2000" b="1" dirty="0">
                <a:solidFill>
                  <a:srgbClr val="001177"/>
                </a:solidFill>
              </a:rPr>
              <a:t>Patentointi on tärkeä osa yritysten strategiaa, </a:t>
            </a:r>
            <a:endParaRPr lang="fi-FI" sz="2000" b="1" dirty="0" smtClean="0">
              <a:solidFill>
                <a:srgbClr val="001177"/>
              </a:solidFill>
            </a:endParaRPr>
          </a:p>
          <a:p>
            <a:pPr algn="ctr"/>
            <a:r>
              <a:rPr lang="fi-FI" sz="2000" b="1" dirty="0" smtClean="0">
                <a:solidFill>
                  <a:srgbClr val="001177"/>
                </a:solidFill>
              </a:rPr>
              <a:t>jota </a:t>
            </a:r>
            <a:r>
              <a:rPr lang="fi-FI" sz="2000" b="1" dirty="0">
                <a:solidFill>
                  <a:srgbClr val="001177"/>
                </a:solidFill>
              </a:rPr>
              <a:t>ilman T&amp;K ei olisi taloudellisesti kannattavaa.  </a:t>
            </a:r>
            <a:br>
              <a:rPr lang="fi-FI" sz="2000" b="1" dirty="0">
                <a:solidFill>
                  <a:srgbClr val="001177"/>
                </a:solidFill>
              </a:rPr>
            </a:br>
            <a:r>
              <a:rPr lang="fi-FI" sz="2000" b="1" dirty="0">
                <a:solidFill>
                  <a:srgbClr val="001177"/>
                </a:solidFill>
              </a:rPr>
              <a:t/>
            </a:r>
            <a:br>
              <a:rPr lang="fi-FI" sz="2000" b="1" dirty="0">
                <a:solidFill>
                  <a:srgbClr val="001177"/>
                </a:solidFill>
              </a:rPr>
            </a:br>
            <a:r>
              <a:rPr lang="fi-FI" sz="2000" b="1" dirty="0">
                <a:solidFill>
                  <a:srgbClr val="001177"/>
                </a:solidFill>
              </a:rPr>
              <a:t>Ilman patenttijärjestelmää tekninen kehitys </a:t>
            </a:r>
            <a:r>
              <a:rPr lang="fi-FI" sz="2000" b="1" dirty="0" smtClean="0">
                <a:solidFill>
                  <a:srgbClr val="001177"/>
                </a:solidFill>
              </a:rPr>
              <a:t>vähenisi merkittävästi.</a:t>
            </a:r>
            <a:r>
              <a:rPr lang="fi-FI" sz="1600" b="1" dirty="0"/>
              <a:t/>
            </a:r>
            <a:br>
              <a:rPr lang="fi-FI" sz="1600" b="1" dirty="0"/>
            </a:br>
            <a:endParaRPr lang="fi-FI" dirty="0" smtClean="0"/>
          </a:p>
        </p:txBody>
      </p:sp>
    </p:spTree>
    <p:extLst>
      <p:ext uri="{BB962C8B-B14F-4D97-AF65-F5344CB8AC3E}">
        <p14:creationId xmlns:p14="http://schemas.microsoft.com/office/powerpoint/2010/main" val="2849881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33" r="26285" b="15346"/>
          <a:stretch/>
        </p:blipFill>
        <p:spPr>
          <a:xfrm>
            <a:off x="244800" y="244800"/>
            <a:ext cx="8654400" cy="4415974"/>
          </a:xfrm>
          <a:custGeom>
            <a:avLst/>
            <a:gdLst>
              <a:gd name="connsiteX0" fmla="*/ 0 w 8654400"/>
              <a:gd name="connsiteY0" fmla="*/ 88166 h 4412700"/>
              <a:gd name="connsiteX1" fmla="*/ 88166 w 8654400"/>
              <a:gd name="connsiteY1" fmla="*/ 0 h 4412700"/>
              <a:gd name="connsiteX2" fmla="*/ 8566234 w 8654400"/>
              <a:gd name="connsiteY2" fmla="*/ 0 h 4412700"/>
              <a:gd name="connsiteX3" fmla="*/ 8654400 w 8654400"/>
              <a:gd name="connsiteY3" fmla="*/ 88166 h 4412700"/>
              <a:gd name="connsiteX4" fmla="*/ 8654400 w 8654400"/>
              <a:gd name="connsiteY4" fmla="*/ 4324534 h 4412700"/>
              <a:gd name="connsiteX5" fmla="*/ 8566234 w 8654400"/>
              <a:gd name="connsiteY5" fmla="*/ 4412700 h 4412700"/>
              <a:gd name="connsiteX6" fmla="*/ 88166 w 8654400"/>
              <a:gd name="connsiteY6" fmla="*/ 4412700 h 4412700"/>
              <a:gd name="connsiteX7" fmla="*/ 0 w 8654400"/>
              <a:gd name="connsiteY7" fmla="*/ 4324534 h 4412700"/>
              <a:gd name="connsiteX8" fmla="*/ 0 w 8654400"/>
              <a:gd name="connsiteY8" fmla="*/ 88166 h 4412700"/>
              <a:gd name="connsiteX0" fmla="*/ 8566234 w 8745840"/>
              <a:gd name="connsiteY0" fmla="*/ 4412700 h 4415974"/>
              <a:gd name="connsiteX1" fmla="*/ 88166 w 8745840"/>
              <a:gd name="connsiteY1" fmla="*/ 4412700 h 4415974"/>
              <a:gd name="connsiteX2" fmla="*/ 0 w 8745840"/>
              <a:gd name="connsiteY2" fmla="*/ 4324534 h 4415974"/>
              <a:gd name="connsiteX3" fmla="*/ 0 w 8745840"/>
              <a:gd name="connsiteY3" fmla="*/ 88166 h 4415974"/>
              <a:gd name="connsiteX4" fmla="*/ 88166 w 8745840"/>
              <a:gd name="connsiteY4" fmla="*/ 0 h 4415974"/>
              <a:gd name="connsiteX5" fmla="*/ 8566234 w 8745840"/>
              <a:gd name="connsiteY5" fmla="*/ 0 h 4415974"/>
              <a:gd name="connsiteX6" fmla="*/ 8654400 w 8745840"/>
              <a:gd name="connsiteY6" fmla="*/ 88166 h 4415974"/>
              <a:gd name="connsiteX7" fmla="*/ 8745840 w 8745840"/>
              <a:gd name="connsiteY7" fmla="*/ 4415974 h 4415974"/>
              <a:gd name="connsiteX0" fmla="*/ 8566234 w 8745840"/>
              <a:gd name="connsiteY0" fmla="*/ 4412700 h 4415974"/>
              <a:gd name="connsiteX1" fmla="*/ 88166 w 8745840"/>
              <a:gd name="connsiteY1" fmla="*/ 4412700 h 4415974"/>
              <a:gd name="connsiteX2" fmla="*/ 0 w 8745840"/>
              <a:gd name="connsiteY2" fmla="*/ 4324534 h 4415974"/>
              <a:gd name="connsiteX3" fmla="*/ 0 w 8745840"/>
              <a:gd name="connsiteY3" fmla="*/ 88166 h 4415974"/>
              <a:gd name="connsiteX4" fmla="*/ 88166 w 8745840"/>
              <a:gd name="connsiteY4" fmla="*/ 0 h 4415974"/>
              <a:gd name="connsiteX5" fmla="*/ 8566234 w 8745840"/>
              <a:gd name="connsiteY5" fmla="*/ 0 h 4415974"/>
              <a:gd name="connsiteX6" fmla="*/ 8654400 w 8745840"/>
              <a:gd name="connsiteY6" fmla="*/ 88166 h 4415974"/>
              <a:gd name="connsiteX7" fmla="*/ 8745840 w 8745840"/>
              <a:gd name="connsiteY7" fmla="*/ 4415974 h 4415974"/>
              <a:gd name="connsiteX8" fmla="*/ 8566234 w 8745840"/>
              <a:gd name="connsiteY8" fmla="*/ 4412700 h 4415974"/>
              <a:gd name="connsiteX0" fmla="*/ 8745840 w 8745840"/>
              <a:gd name="connsiteY0" fmla="*/ 4415974 h 4415974"/>
              <a:gd name="connsiteX1" fmla="*/ 88166 w 8745840"/>
              <a:gd name="connsiteY1" fmla="*/ 4412700 h 4415974"/>
              <a:gd name="connsiteX2" fmla="*/ 0 w 8745840"/>
              <a:gd name="connsiteY2" fmla="*/ 4324534 h 4415974"/>
              <a:gd name="connsiteX3" fmla="*/ 0 w 8745840"/>
              <a:gd name="connsiteY3" fmla="*/ 88166 h 4415974"/>
              <a:gd name="connsiteX4" fmla="*/ 88166 w 8745840"/>
              <a:gd name="connsiteY4" fmla="*/ 0 h 4415974"/>
              <a:gd name="connsiteX5" fmla="*/ 8566234 w 8745840"/>
              <a:gd name="connsiteY5" fmla="*/ 0 h 4415974"/>
              <a:gd name="connsiteX6" fmla="*/ 8654400 w 8745840"/>
              <a:gd name="connsiteY6" fmla="*/ 88166 h 4415974"/>
              <a:gd name="connsiteX7" fmla="*/ 8745840 w 8745840"/>
              <a:gd name="connsiteY7" fmla="*/ 4415974 h 4415974"/>
              <a:gd name="connsiteX0" fmla="*/ 8653765 w 8654400"/>
              <a:gd name="connsiteY0" fmla="*/ 4415974 h 4415974"/>
              <a:gd name="connsiteX1" fmla="*/ 88166 w 8654400"/>
              <a:gd name="connsiteY1" fmla="*/ 4412700 h 4415974"/>
              <a:gd name="connsiteX2" fmla="*/ 0 w 8654400"/>
              <a:gd name="connsiteY2" fmla="*/ 4324534 h 4415974"/>
              <a:gd name="connsiteX3" fmla="*/ 0 w 8654400"/>
              <a:gd name="connsiteY3" fmla="*/ 88166 h 4415974"/>
              <a:gd name="connsiteX4" fmla="*/ 88166 w 8654400"/>
              <a:gd name="connsiteY4" fmla="*/ 0 h 4415974"/>
              <a:gd name="connsiteX5" fmla="*/ 8566234 w 8654400"/>
              <a:gd name="connsiteY5" fmla="*/ 0 h 4415974"/>
              <a:gd name="connsiteX6" fmla="*/ 8654400 w 8654400"/>
              <a:gd name="connsiteY6" fmla="*/ 88166 h 4415974"/>
              <a:gd name="connsiteX7" fmla="*/ 8653765 w 8654400"/>
              <a:gd name="connsiteY7" fmla="*/ 4415974 h 441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4400" h="4415974">
                <a:moveTo>
                  <a:pt x="8653765" y="4415974"/>
                </a:moveTo>
                <a:lnTo>
                  <a:pt x="88166" y="4412700"/>
                </a:lnTo>
                <a:cubicBezTo>
                  <a:pt x="39473" y="4412700"/>
                  <a:pt x="0" y="4373227"/>
                  <a:pt x="0" y="4324534"/>
                </a:cubicBezTo>
                <a:lnTo>
                  <a:pt x="0" y="88166"/>
                </a:lnTo>
                <a:cubicBezTo>
                  <a:pt x="0" y="39473"/>
                  <a:pt x="39473" y="0"/>
                  <a:pt x="88166" y="0"/>
                </a:cubicBezTo>
                <a:lnTo>
                  <a:pt x="8566234" y="0"/>
                </a:lnTo>
                <a:cubicBezTo>
                  <a:pt x="8614927" y="0"/>
                  <a:pt x="8654400" y="39473"/>
                  <a:pt x="8654400" y="88166"/>
                </a:cubicBezTo>
                <a:cubicBezTo>
                  <a:pt x="8654400" y="1500289"/>
                  <a:pt x="8653765" y="4415974"/>
                  <a:pt x="8653765" y="4415974"/>
                </a:cubicBezTo>
                <a:close/>
              </a:path>
            </a:pathLst>
          </a:cu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870227" y="2436067"/>
            <a:ext cx="3671293" cy="115845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i="0" kern="1200" baseline="0">
                <a:solidFill>
                  <a:schemeClr val="tx1"/>
                </a:solidFill>
                <a:latin typeface="Trebuchet MS"/>
                <a:ea typeface="+mj-ea"/>
                <a:cs typeface="Trebuchet MS"/>
              </a:defRPr>
            </a:lvl1pPr>
          </a:lstStyle>
          <a:p>
            <a:r>
              <a:rPr lang="en-US" dirty="0" err="1" smtClean="0">
                <a:solidFill>
                  <a:schemeClr val="bg1"/>
                </a:solidFill>
              </a:rPr>
              <a:t>Mihin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tilaan</a:t>
            </a:r>
            <a:endParaRPr lang="en-US" dirty="0" smtClean="0">
              <a:solidFill>
                <a:schemeClr val="bg1"/>
              </a:solidFill>
            </a:endParaRPr>
          </a:p>
          <a:p>
            <a:r>
              <a:rPr lang="en-US" dirty="0" err="1" smtClean="0">
                <a:solidFill>
                  <a:schemeClr val="bg1"/>
                </a:solidFill>
              </a:rPr>
              <a:t>jätämme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maapallon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seuraaville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sukupolville</a:t>
            </a:r>
            <a:r>
              <a:rPr lang="en-US" dirty="0" smtClean="0">
                <a:solidFill>
                  <a:schemeClr val="bg1"/>
                </a:solidFill>
              </a:rPr>
              <a:t>?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49512" y="2514712"/>
            <a:ext cx="231971" cy="248284"/>
            <a:chOff x="5144915" y="1644876"/>
            <a:chExt cx="170944" cy="182964"/>
          </a:xfrm>
        </p:grpSpPr>
        <p:sp>
          <p:nvSpPr>
            <p:cNvPr id="9" name="Teardrop 8"/>
            <p:cNvSpPr/>
            <p:nvPr/>
          </p:nvSpPr>
          <p:spPr>
            <a:xfrm>
              <a:off x="5144915" y="1644876"/>
              <a:ext cx="103026" cy="103026"/>
            </a:xfrm>
            <a:prstGeom prst="teardrop">
              <a:avLst/>
            </a:prstGeom>
            <a:solidFill>
              <a:schemeClr val="bg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10" name="Teardrop 9"/>
            <p:cNvSpPr/>
            <p:nvPr/>
          </p:nvSpPr>
          <p:spPr>
            <a:xfrm>
              <a:off x="5174963" y="1686944"/>
              <a:ext cx="140896" cy="140896"/>
            </a:xfrm>
            <a:prstGeom prst="teardrop">
              <a:avLst/>
            </a:prstGeom>
            <a:solidFill>
              <a:schemeClr val="bg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</p:grpSp>
      <p:sp>
        <p:nvSpPr>
          <p:cNvPr id="11" name="Title 1"/>
          <p:cNvSpPr txBox="1">
            <a:spLocks/>
          </p:cNvSpPr>
          <p:nvPr/>
        </p:nvSpPr>
        <p:spPr>
          <a:xfrm>
            <a:off x="851103" y="2042635"/>
            <a:ext cx="2677616" cy="40334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i="0" kern="1200" baseline="0">
                <a:solidFill>
                  <a:schemeClr val="tx1"/>
                </a:solidFill>
                <a:latin typeface="Trebuchet MS"/>
                <a:ea typeface="+mj-ea"/>
                <a:cs typeface="Trebuchet MS"/>
              </a:defRPr>
            </a:lvl1pPr>
          </a:lstStyle>
          <a:p>
            <a:r>
              <a:rPr lang="en-US" sz="1500" dirty="0" smtClean="0">
                <a:solidFill>
                  <a:schemeClr val="bg1"/>
                </a:solidFill>
              </a:rPr>
              <a:t>HAASTE:</a:t>
            </a:r>
            <a:endParaRPr lang="en-US" sz="15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467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6B9E5-EB7A-41CB-AF8F-3F4ED4452908}" type="slidenum">
              <a:rPr lang="fi-FI" smtClean="0"/>
              <a:t>42</a:t>
            </a:fld>
            <a:endParaRPr lang="fi-FI"/>
          </a:p>
        </p:txBody>
      </p:sp>
      <p:pic>
        <p:nvPicPr>
          <p:cNvPr id="4" name="Kuvan paikkamerkki 3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30" b="11730"/>
          <a:stretch>
            <a:fillRect/>
          </a:stretch>
        </p:blipFill>
        <p:spPr/>
      </p:pic>
      <p:sp>
        <p:nvSpPr>
          <p:cNvPr id="5" name="LEAVING A HEALTHIER PLANET FOR OUR CHILDREN">
            <a:hlinkClick r:id="rId4"/>
          </p:cNvPr>
          <p:cNvSpPr txBox="1"/>
          <p:nvPr/>
        </p:nvSpPr>
        <p:spPr>
          <a:xfrm>
            <a:off x="1368704" y="1442529"/>
            <a:ext cx="6592328" cy="3581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lnSpc>
                <a:spcPct val="90000"/>
              </a:lnSpc>
              <a:defRPr b="1" spc="200">
                <a:solidFill>
                  <a:srgbClr val="FFFFFF"/>
                </a:solidFill>
              </a:defRPr>
            </a:lvl1pPr>
          </a:lstStyle>
          <a:p>
            <a:r>
              <a:rPr dirty="0"/>
              <a:t>LEAVING A HEALTHIER PLANET FOR OUR CHILDREN</a:t>
            </a:r>
          </a:p>
        </p:txBody>
      </p:sp>
    </p:spTree>
    <p:extLst>
      <p:ext uri="{BB962C8B-B14F-4D97-AF65-F5344CB8AC3E}">
        <p14:creationId xmlns:p14="http://schemas.microsoft.com/office/powerpoint/2010/main" val="2413874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0585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46" t="20631" b="581"/>
          <a:stretch/>
        </p:blipFill>
        <p:spPr/>
      </p:pic>
      <p:grpSp>
        <p:nvGrpSpPr>
          <p:cNvPr id="4" name="Group 3"/>
          <p:cNvGrpSpPr/>
          <p:nvPr/>
        </p:nvGrpSpPr>
        <p:grpSpPr>
          <a:xfrm>
            <a:off x="643687" y="1949326"/>
            <a:ext cx="7856626" cy="1825562"/>
            <a:chOff x="1328729" y="2625778"/>
            <a:chExt cx="7856626" cy="1825562"/>
          </a:xfrm>
        </p:grpSpPr>
        <p:sp>
          <p:nvSpPr>
            <p:cNvPr id="5" name="Oval 4"/>
            <p:cNvSpPr>
              <a:spLocks noChangeAspect="1"/>
            </p:cNvSpPr>
            <p:nvPr/>
          </p:nvSpPr>
          <p:spPr>
            <a:xfrm>
              <a:off x="3340570" y="2625778"/>
              <a:ext cx="1844283" cy="1825562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wrap="square" lIns="0" tIns="0" rIns="0" bIns="0" numCol="1" anchor="ctr"/>
            <a:lstStyle/>
            <a:p>
              <a:pPr lvl="0" algn="ctr"/>
              <a:r>
                <a:rPr lang="en-US" sz="1400" b="1" dirty="0" smtClean="0">
                  <a:solidFill>
                    <a:schemeClr val="accent2"/>
                  </a:solidFill>
                </a:rPr>
                <a:t>ASIAKKAAMME</a:t>
              </a:r>
            </a:p>
            <a:p>
              <a:pPr lvl="0" algn="ctr"/>
              <a:r>
                <a:rPr lang="en-US" sz="1100" dirty="0" err="1">
                  <a:solidFill>
                    <a:schemeClr val="accent2"/>
                  </a:solidFill>
                </a:rPr>
                <a:t>v</a:t>
              </a:r>
              <a:r>
                <a:rPr lang="en-US" sz="1100" dirty="0" err="1" smtClean="0">
                  <a:solidFill>
                    <a:schemeClr val="accent2"/>
                  </a:solidFill>
                </a:rPr>
                <a:t>ähensivät</a:t>
              </a:r>
              <a:r>
                <a:rPr lang="en-US" sz="1100" dirty="0" smtClean="0">
                  <a:solidFill>
                    <a:schemeClr val="accent2"/>
                  </a:solidFill>
                </a:rPr>
                <a:t> </a:t>
              </a:r>
              <a:r>
                <a:rPr lang="en-US" sz="1100" dirty="0" err="1" smtClean="0">
                  <a:solidFill>
                    <a:schemeClr val="accent2"/>
                  </a:solidFill>
                </a:rPr>
                <a:t>uusiutuvilla</a:t>
              </a:r>
              <a:r>
                <a:rPr lang="en-US" sz="1100" dirty="0" smtClean="0">
                  <a:solidFill>
                    <a:schemeClr val="accent2"/>
                  </a:solidFill>
                </a:rPr>
                <a:t> </a:t>
              </a:r>
              <a:r>
                <a:rPr lang="en-US" sz="1100" dirty="0" err="1" smtClean="0">
                  <a:solidFill>
                    <a:schemeClr val="accent2"/>
                  </a:solidFill>
                </a:rPr>
                <a:t>tuotteillamme</a:t>
              </a:r>
              <a:r>
                <a:rPr lang="en-US" sz="1100" dirty="0" smtClean="0">
                  <a:solidFill>
                    <a:schemeClr val="accent2"/>
                  </a:solidFill>
                </a:rPr>
                <a:t> </a:t>
              </a:r>
            </a:p>
            <a:p>
              <a:pPr lvl="0" algn="ctr"/>
              <a:r>
                <a:rPr lang="en-US" sz="1100" dirty="0" err="1" smtClean="0">
                  <a:solidFill>
                    <a:schemeClr val="accent2"/>
                  </a:solidFill>
                </a:rPr>
                <a:t>kasvihuonekaasu-päästöjään</a:t>
              </a:r>
              <a:r>
                <a:rPr lang="en-US" sz="1100" dirty="0" smtClean="0">
                  <a:solidFill>
                    <a:schemeClr val="accent2"/>
                  </a:solidFill>
                </a:rPr>
                <a:t> </a:t>
              </a:r>
            </a:p>
            <a:p>
              <a:pPr lvl="0" algn="ctr"/>
              <a:r>
                <a:rPr lang="en-US" sz="1100" dirty="0" smtClean="0">
                  <a:solidFill>
                    <a:schemeClr val="accent2"/>
                  </a:solidFill>
                </a:rPr>
                <a:t>6,7 </a:t>
              </a:r>
              <a:r>
                <a:rPr lang="en-US" sz="1100" dirty="0" err="1" smtClean="0">
                  <a:solidFill>
                    <a:schemeClr val="accent2"/>
                  </a:solidFill>
                </a:rPr>
                <a:t>milj.tonnia</a:t>
              </a:r>
              <a:endParaRPr lang="en-US" sz="1050" dirty="0">
                <a:solidFill>
                  <a:schemeClr val="accent2"/>
                </a:solidFill>
              </a:endParaRPr>
            </a:p>
          </p:txBody>
        </p:sp>
        <p:sp>
          <p:nvSpPr>
            <p:cNvPr id="6" name="Oval 5"/>
            <p:cNvSpPr>
              <a:spLocks noChangeAspect="1"/>
            </p:cNvSpPr>
            <p:nvPr/>
          </p:nvSpPr>
          <p:spPr>
            <a:xfrm>
              <a:off x="5352411" y="2625778"/>
              <a:ext cx="1821103" cy="1825562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wrap="square" lIns="0" tIns="0" rIns="0" bIns="0" numCol="1" anchor="ctr"/>
            <a:lstStyle/>
            <a:p>
              <a:pPr lvl="0" algn="ctr"/>
              <a:r>
                <a:rPr lang="en-US" sz="1400" b="1" dirty="0" smtClean="0">
                  <a:solidFill>
                    <a:schemeClr val="accent2"/>
                  </a:solidFill>
                </a:rPr>
                <a:t>INVESTOIMME</a:t>
              </a:r>
              <a:endParaRPr lang="en-US" sz="1400" b="1" dirty="0">
                <a:solidFill>
                  <a:schemeClr val="accent2"/>
                </a:solidFill>
              </a:endParaRPr>
            </a:p>
            <a:p>
              <a:pPr lvl="0" algn="ctr"/>
              <a:r>
                <a:rPr lang="en-US" sz="1100" dirty="0" smtClean="0">
                  <a:solidFill>
                    <a:schemeClr val="accent2"/>
                  </a:solidFill>
                </a:rPr>
                <a:t>70 % T&amp;K </a:t>
              </a:r>
              <a:r>
                <a:rPr lang="en-US" sz="1100" dirty="0" err="1" smtClean="0">
                  <a:solidFill>
                    <a:schemeClr val="accent2"/>
                  </a:solidFill>
                </a:rPr>
                <a:t>budjetistamme</a:t>
              </a:r>
              <a:r>
                <a:rPr lang="en-US" sz="1100" dirty="0" smtClean="0">
                  <a:solidFill>
                    <a:schemeClr val="accent2"/>
                  </a:solidFill>
                </a:rPr>
                <a:t> </a:t>
              </a:r>
              <a:r>
                <a:rPr lang="en-US" sz="1100" dirty="0" err="1" smtClean="0">
                  <a:solidFill>
                    <a:schemeClr val="accent2"/>
                  </a:solidFill>
                </a:rPr>
                <a:t>löytääksemme</a:t>
              </a:r>
              <a:r>
                <a:rPr lang="en-US" sz="1100" dirty="0" smtClean="0">
                  <a:solidFill>
                    <a:schemeClr val="accent2"/>
                  </a:solidFill>
                </a:rPr>
                <a:t> </a:t>
              </a:r>
              <a:r>
                <a:rPr lang="en-US" sz="1100" dirty="0" err="1" smtClean="0">
                  <a:solidFill>
                    <a:schemeClr val="accent2"/>
                  </a:solidFill>
                </a:rPr>
                <a:t>uusia</a:t>
              </a:r>
              <a:r>
                <a:rPr lang="en-US" sz="1100" dirty="0" smtClean="0">
                  <a:solidFill>
                    <a:schemeClr val="accent2"/>
                  </a:solidFill>
                </a:rPr>
                <a:t> </a:t>
              </a:r>
              <a:r>
                <a:rPr lang="en-US" sz="1100" dirty="0" err="1" smtClean="0">
                  <a:solidFill>
                    <a:schemeClr val="accent2"/>
                  </a:solidFill>
                </a:rPr>
                <a:t>uusiutuvia</a:t>
              </a:r>
              <a:r>
                <a:rPr lang="en-US" sz="1100" dirty="0" smtClean="0">
                  <a:solidFill>
                    <a:schemeClr val="accent2"/>
                  </a:solidFill>
                </a:rPr>
                <a:t> </a:t>
              </a:r>
              <a:r>
                <a:rPr lang="en-US" sz="1100" dirty="0" err="1" smtClean="0">
                  <a:solidFill>
                    <a:schemeClr val="accent2"/>
                  </a:solidFill>
                </a:rPr>
                <a:t>raaka-aineita</a:t>
              </a:r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7" name="Oval 6"/>
            <p:cNvSpPr>
              <a:spLocks noChangeAspect="1"/>
            </p:cNvSpPr>
            <p:nvPr/>
          </p:nvSpPr>
          <p:spPr>
            <a:xfrm>
              <a:off x="1328729" y="2625778"/>
              <a:ext cx="1821103" cy="1825562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wrap="none" lIns="0" tIns="0" rIns="0" bIns="0" numCol="1" anchor="ctr"/>
            <a:lstStyle/>
            <a:p>
              <a:pPr lvl="0" algn="ctr"/>
              <a:r>
                <a:rPr lang="en-US" sz="1400" b="1" dirty="0" smtClean="0">
                  <a:solidFill>
                    <a:schemeClr val="accent2"/>
                  </a:solidFill>
                </a:rPr>
                <a:t>MEITÄ ON </a:t>
              </a:r>
            </a:p>
            <a:p>
              <a:pPr lvl="0" algn="ctr"/>
              <a:r>
                <a:rPr lang="en-US" sz="1400" b="1" dirty="0" smtClean="0">
                  <a:solidFill>
                    <a:schemeClr val="accent2"/>
                  </a:solidFill>
                </a:rPr>
                <a:t>5 000</a:t>
              </a:r>
              <a:r>
                <a:rPr lang="en-US" sz="1200" dirty="0" smtClean="0">
                  <a:solidFill>
                    <a:schemeClr val="accent2"/>
                  </a:solidFill>
                </a:rPr>
                <a:t> </a:t>
              </a:r>
              <a:r>
                <a:rPr lang="en-US" sz="1200" dirty="0">
                  <a:solidFill>
                    <a:schemeClr val="accent2"/>
                  </a:solidFill>
                </a:rPr>
                <a:t/>
              </a:r>
              <a:br>
                <a:rPr lang="en-US" sz="1200" dirty="0">
                  <a:solidFill>
                    <a:schemeClr val="accent2"/>
                  </a:solidFill>
                </a:rPr>
              </a:br>
              <a:r>
                <a:rPr lang="en-US" sz="1100" dirty="0" err="1" smtClean="0">
                  <a:solidFill>
                    <a:schemeClr val="accent2"/>
                  </a:solidFill>
                </a:rPr>
                <a:t>omistautunutta</a:t>
              </a:r>
              <a:r>
                <a:rPr lang="en-US" sz="1100" dirty="0" smtClean="0">
                  <a:solidFill>
                    <a:schemeClr val="accent2"/>
                  </a:solidFill>
                </a:rPr>
                <a:t> </a:t>
              </a:r>
            </a:p>
            <a:p>
              <a:pPr lvl="0" algn="ctr"/>
              <a:r>
                <a:rPr lang="en-US" sz="1100" dirty="0" err="1" smtClean="0">
                  <a:solidFill>
                    <a:schemeClr val="accent2"/>
                  </a:solidFill>
                </a:rPr>
                <a:t>ammattilaista</a:t>
              </a:r>
              <a:r>
                <a:rPr lang="en-US" sz="1100" dirty="0" smtClean="0">
                  <a:solidFill>
                    <a:schemeClr val="accent2"/>
                  </a:solidFill>
                </a:rPr>
                <a:t> </a:t>
              </a:r>
            </a:p>
            <a:p>
              <a:pPr lvl="0" algn="ctr"/>
              <a:endParaRPr lang="en-US" sz="1100" dirty="0" err="1" smtClean="0">
                <a:solidFill>
                  <a:schemeClr val="accent2"/>
                </a:solidFill>
              </a:endParaRPr>
            </a:p>
          </p:txBody>
        </p:sp>
        <p:sp>
          <p:nvSpPr>
            <p:cNvPr id="8" name="Oval 7"/>
            <p:cNvSpPr>
              <a:spLocks noChangeAspect="1"/>
            </p:cNvSpPr>
            <p:nvPr/>
          </p:nvSpPr>
          <p:spPr>
            <a:xfrm>
              <a:off x="7364252" y="2625778"/>
              <a:ext cx="1821103" cy="1825562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wrap="square" lIns="0" tIns="0" rIns="0" bIns="0" numCol="1" anchor="ctr"/>
            <a:lstStyle/>
            <a:p>
              <a:pPr lvl="0" algn="ctr"/>
              <a:r>
                <a:rPr lang="en-US" sz="1400" b="1" dirty="0" smtClean="0">
                  <a:solidFill>
                    <a:schemeClr val="accent2"/>
                  </a:solidFill>
                </a:rPr>
                <a:t>TEIMME </a:t>
              </a:r>
              <a:r>
                <a:rPr lang="en-US" sz="1400" b="1" dirty="0">
                  <a:solidFill>
                    <a:schemeClr val="accent2"/>
                  </a:solidFill>
                </a:rPr>
                <a:t/>
              </a:r>
              <a:br>
                <a:rPr lang="en-US" sz="1400" b="1" dirty="0">
                  <a:solidFill>
                    <a:schemeClr val="accent2"/>
                  </a:solidFill>
                </a:rPr>
              </a:br>
              <a:r>
                <a:rPr lang="en-US" sz="1400" b="1" dirty="0">
                  <a:solidFill>
                    <a:schemeClr val="accent2"/>
                  </a:solidFill>
                </a:rPr>
                <a:t>983 M€ </a:t>
              </a:r>
              <a:r>
                <a:rPr lang="en-US" sz="1200" dirty="0">
                  <a:solidFill>
                    <a:schemeClr val="accent2"/>
                  </a:solidFill>
                </a:rPr>
                <a:t> </a:t>
              </a:r>
              <a:br>
                <a:rPr lang="en-US" sz="1200" dirty="0">
                  <a:solidFill>
                    <a:schemeClr val="accent2"/>
                  </a:solidFill>
                </a:rPr>
              </a:br>
              <a:r>
                <a:rPr lang="en-US" sz="1200" dirty="0" err="1" smtClean="0">
                  <a:solidFill>
                    <a:schemeClr val="accent2"/>
                  </a:solidFill>
                </a:rPr>
                <a:t>liike</a:t>
              </a:r>
              <a:r>
                <a:rPr lang="en-US" sz="1100" dirty="0" err="1" smtClean="0">
                  <a:solidFill>
                    <a:schemeClr val="accent2"/>
                  </a:solidFill>
                </a:rPr>
                <a:t>voittoa</a:t>
              </a:r>
              <a:r>
                <a:rPr lang="en-US" sz="1100" dirty="0" smtClean="0">
                  <a:solidFill>
                    <a:schemeClr val="accent2"/>
                  </a:solidFill>
                </a:rPr>
                <a:t>, </a:t>
              </a:r>
              <a:r>
                <a:rPr lang="en-US" sz="1100" dirty="0" err="1" smtClean="0">
                  <a:solidFill>
                    <a:schemeClr val="accent2"/>
                  </a:solidFill>
                </a:rPr>
                <a:t>josta</a:t>
              </a:r>
              <a:r>
                <a:rPr lang="en-US" sz="1100" dirty="0">
                  <a:solidFill>
                    <a:schemeClr val="accent2"/>
                  </a:solidFill>
                </a:rPr>
                <a:t/>
              </a:r>
              <a:br>
                <a:rPr lang="en-US" sz="1100" dirty="0">
                  <a:solidFill>
                    <a:schemeClr val="accent2"/>
                  </a:solidFill>
                </a:rPr>
              </a:br>
              <a:r>
                <a:rPr lang="en-US" sz="1100" dirty="0" smtClean="0">
                  <a:solidFill>
                    <a:schemeClr val="accent2"/>
                  </a:solidFill>
                </a:rPr>
                <a:t>46 % </a:t>
              </a:r>
              <a:r>
                <a:rPr lang="en-US" sz="1100" dirty="0" err="1" smtClean="0">
                  <a:solidFill>
                    <a:schemeClr val="accent2"/>
                  </a:solidFill>
                </a:rPr>
                <a:t>tuli</a:t>
              </a:r>
              <a:r>
                <a:rPr lang="en-US" sz="1100" dirty="0" smtClean="0">
                  <a:solidFill>
                    <a:schemeClr val="accent2"/>
                  </a:solidFill>
                </a:rPr>
                <a:t> </a:t>
              </a:r>
              <a:r>
                <a:rPr lang="en-US" sz="1100" dirty="0" err="1" smtClean="0">
                  <a:solidFill>
                    <a:schemeClr val="accent2"/>
                  </a:solidFill>
                </a:rPr>
                <a:t>uusiutuvista</a:t>
              </a:r>
              <a:r>
                <a:rPr lang="en-US" sz="1100" dirty="0" smtClean="0">
                  <a:solidFill>
                    <a:schemeClr val="accent2"/>
                  </a:solidFill>
                </a:rPr>
                <a:t> </a:t>
              </a:r>
              <a:r>
                <a:rPr lang="en-US" sz="1100" dirty="0" err="1" smtClean="0">
                  <a:solidFill>
                    <a:schemeClr val="accent2"/>
                  </a:solidFill>
                </a:rPr>
                <a:t>tuotteista</a:t>
              </a:r>
              <a:endParaRPr lang="en-US" sz="1100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le 28"/>
          <p:cNvSpPr txBox="1">
            <a:spLocks/>
          </p:cNvSpPr>
          <p:nvPr/>
        </p:nvSpPr>
        <p:spPr>
          <a:xfrm>
            <a:off x="244800" y="1252861"/>
            <a:ext cx="8654400" cy="348823"/>
          </a:xfrm>
          <a:prstGeom prst="rect">
            <a:avLst/>
          </a:prstGeom>
          <a:effectLst/>
        </p:spPr>
        <p:txBody>
          <a:bodyPr numCol="1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i="0" kern="1200" baseline="0">
                <a:solidFill>
                  <a:schemeClr val="tx1"/>
                </a:solidFill>
                <a:latin typeface="Trebuchet MS"/>
                <a:ea typeface="+mj-ea"/>
                <a:cs typeface="Trebuchet MS"/>
              </a:defRPr>
            </a:lvl1pPr>
          </a:lstStyle>
          <a:p>
            <a:pPr algn="ctr"/>
            <a:r>
              <a:rPr lang="en-US" dirty="0" err="1" smtClean="0">
                <a:solidFill>
                  <a:schemeClr val="accent2"/>
                </a:solidFill>
              </a:rPr>
              <a:t>Visiomme</a:t>
            </a:r>
            <a:r>
              <a:rPr lang="en-US" dirty="0" smtClean="0">
                <a:solidFill>
                  <a:schemeClr val="accent2"/>
                </a:solidFill>
              </a:rPr>
              <a:t> </a:t>
            </a:r>
            <a:r>
              <a:rPr lang="en-US" dirty="0" err="1" smtClean="0">
                <a:solidFill>
                  <a:schemeClr val="accent2"/>
                </a:solidFill>
              </a:rPr>
              <a:t>ohjaa</a:t>
            </a:r>
            <a:r>
              <a:rPr lang="en-US" dirty="0" smtClean="0">
                <a:solidFill>
                  <a:schemeClr val="accent2"/>
                </a:solidFill>
              </a:rPr>
              <a:t> </a:t>
            </a:r>
            <a:r>
              <a:rPr lang="en-US" dirty="0" err="1" smtClean="0">
                <a:solidFill>
                  <a:schemeClr val="accent2"/>
                </a:solidFill>
              </a:rPr>
              <a:t>meitä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79486" y="4711484"/>
            <a:ext cx="151676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100" dirty="0" smtClean="0"/>
              <a:t>*</a:t>
            </a:r>
            <a:r>
              <a:rPr lang="en-US" sz="1100" dirty="0" err="1" smtClean="0"/>
              <a:t>Luvut</a:t>
            </a:r>
            <a:r>
              <a:rPr lang="en-US" sz="1100" dirty="0"/>
              <a:t> </a:t>
            </a:r>
            <a:r>
              <a:rPr lang="en-US" sz="1100" dirty="0" err="1" smtClean="0"/>
              <a:t>vuodelta</a:t>
            </a:r>
            <a:r>
              <a:rPr lang="en-US" sz="1100" dirty="0" smtClean="0"/>
              <a:t> 2016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156699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4" t="4683"/>
          <a:stretch/>
        </p:blipFill>
        <p:spPr>
          <a:xfrm>
            <a:off x="1272396" y="809572"/>
            <a:ext cx="6540978" cy="4236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>
                <a:solidFill>
                  <a:srgbClr val="001177"/>
                </a:solidFill>
              </a:rPr>
              <a:t>Neste maailmalla</a:t>
            </a:r>
            <a:endParaRPr lang="fi-FI" dirty="0">
              <a:solidFill>
                <a:srgbClr val="001177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11A21FF-834C-4321-A25D-9A9BFFE4D85F}" type="datetime1">
              <a:rPr lang="fi-FI" smtClean="0"/>
              <a:t>4.2.2019</a:t>
            </a:fld>
            <a:endParaRPr lang="fi-FI" dirty="0"/>
          </a:p>
        </p:txBody>
      </p:sp>
      <p:sp>
        <p:nvSpPr>
          <p:cNvPr id="9" name="Oval 8"/>
          <p:cNvSpPr/>
          <p:nvPr/>
        </p:nvSpPr>
        <p:spPr bwMode="auto">
          <a:xfrm>
            <a:off x="2982581" y="2363406"/>
            <a:ext cx="69143" cy="69143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  <p:sp>
        <p:nvSpPr>
          <p:cNvPr id="10" name="Oval 9"/>
          <p:cNvSpPr/>
          <p:nvPr/>
        </p:nvSpPr>
        <p:spPr bwMode="auto">
          <a:xfrm>
            <a:off x="2614974" y="2706205"/>
            <a:ext cx="69143" cy="69143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  <p:sp>
        <p:nvSpPr>
          <p:cNvPr id="11" name="Oval 10"/>
          <p:cNvSpPr/>
          <p:nvPr/>
        </p:nvSpPr>
        <p:spPr bwMode="auto">
          <a:xfrm>
            <a:off x="4462058" y="2212108"/>
            <a:ext cx="69143" cy="6914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  <p:sp>
        <p:nvSpPr>
          <p:cNvPr id="12" name="Oval 11"/>
          <p:cNvSpPr/>
          <p:nvPr/>
        </p:nvSpPr>
        <p:spPr bwMode="auto">
          <a:xfrm>
            <a:off x="4496629" y="2337031"/>
            <a:ext cx="69143" cy="69143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  <p:sp>
        <p:nvSpPr>
          <p:cNvPr id="13" name="Oval 12"/>
          <p:cNvSpPr/>
          <p:nvPr/>
        </p:nvSpPr>
        <p:spPr bwMode="auto">
          <a:xfrm>
            <a:off x="4474282" y="2251225"/>
            <a:ext cx="69143" cy="69143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  <p:sp>
        <p:nvSpPr>
          <p:cNvPr id="15" name="Oval 14"/>
          <p:cNvSpPr/>
          <p:nvPr/>
        </p:nvSpPr>
        <p:spPr bwMode="auto">
          <a:xfrm>
            <a:off x="4760309" y="2128879"/>
            <a:ext cx="69143" cy="69143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  <p:sp>
        <p:nvSpPr>
          <p:cNvPr id="16" name="Oval 15"/>
          <p:cNvSpPr/>
          <p:nvPr/>
        </p:nvSpPr>
        <p:spPr bwMode="auto">
          <a:xfrm>
            <a:off x="4754035" y="2066924"/>
            <a:ext cx="69143" cy="69143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  <p:sp>
        <p:nvSpPr>
          <p:cNvPr id="17" name="Oval 16"/>
          <p:cNvSpPr/>
          <p:nvPr/>
        </p:nvSpPr>
        <p:spPr bwMode="auto">
          <a:xfrm>
            <a:off x="4788607" y="2016918"/>
            <a:ext cx="69143" cy="69143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  <p:sp>
        <p:nvSpPr>
          <p:cNvPr id="18" name="Oval 17"/>
          <p:cNvSpPr/>
          <p:nvPr/>
        </p:nvSpPr>
        <p:spPr bwMode="auto">
          <a:xfrm>
            <a:off x="4691668" y="1931521"/>
            <a:ext cx="69143" cy="6914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  <p:sp>
        <p:nvSpPr>
          <p:cNvPr id="19" name="Oval 18"/>
          <p:cNvSpPr/>
          <p:nvPr/>
        </p:nvSpPr>
        <p:spPr bwMode="auto">
          <a:xfrm>
            <a:off x="4778098" y="1939969"/>
            <a:ext cx="69143" cy="6914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  <p:sp>
        <p:nvSpPr>
          <p:cNvPr id="20" name="Oval 19"/>
          <p:cNvSpPr/>
          <p:nvPr/>
        </p:nvSpPr>
        <p:spPr bwMode="auto">
          <a:xfrm>
            <a:off x="4736750" y="1966093"/>
            <a:ext cx="69143" cy="69143"/>
          </a:xfrm>
          <a:prstGeom prst="ellipse">
            <a:avLst/>
          </a:prstGeom>
          <a:noFill/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  <p:sp>
        <p:nvSpPr>
          <p:cNvPr id="21" name="Oval 20"/>
          <p:cNvSpPr/>
          <p:nvPr/>
        </p:nvSpPr>
        <p:spPr bwMode="auto">
          <a:xfrm>
            <a:off x="5427142" y="2826739"/>
            <a:ext cx="69143" cy="69143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  <p:sp>
        <p:nvSpPr>
          <p:cNvPr id="22" name="Oval 21"/>
          <p:cNvSpPr/>
          <p:nvPr/>
        </p:nvSpPr>
        <p:spPr bwMode="auto">
          <a:xfrm>
            <a:off x="5333789" y="2820148"/>
            <a:ext cx="69143" cy="6914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  <p:sp>
        <p:nvSpPr>
          <p:cNvPr id="23" name="Oval 22"/>
          <p:cNvSpPr/>
          <p:nvPr/>
        </p:nvSpPr>
        <p:spPr bwMode="auto">
          <a:xfrm>
            <a:off x="4638290" y="2008910"/>
            <a:ext cx="69143" cy="69143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  <p:sp>
        <p:nvSpPr>
          <p:cNvPr id="27" name="Oval 26"/>
          <p:cNvSpPr/>
          <p:nvPr/>
        </p:nvSpPr>
        <p:spPr bwMode="auto">
          <a:xfrm>
            <a:off x="6328650" y="3265069"/>
            <a:ext cx="69143" cy="6914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  <p:sp>
        <p:nvSpPr>
          <p:cNvPr id="30" name="Snip and Round Single Corner Rectangle 29"/>
          <p:cNvSpPr/>
          <p:nvPr/>
        </p:nvSpPr>
        <p:spPr>
          <a:xfrm rot="10800000">
            <a:off x="1545712" y="3504218"/>
            <a:ext cx="6082577" cy="1145086"/>
          </a:xfrm>
          <a:prstGeom prst="snipRoundRect">
            <a:avLst>
              <a:gd name="adj1" fmla="val 16338"/>
              <a:gd name="adj2" fmla="val 0"/>
            </a:avLst>
          </a:prstGeom>
          <a:solidFill>
            <a:srgbClr val="FFFFFF">
              <a:alpha val="74902"/>
            </a:srgbClr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noProof="1"/>
          </a:p>
        </p:txBody>
      </p:sp>
      <p:sp>
        <p:nvSpPr>
          <p:cNvPr id="31" name="TextBox 55"/>
          <p:cNvSpPr txBox="1">
            <a:spLocks noChangeArrowheads="1"/>
          </p:cNvSpPr>
          <p:nvPr/>
        </p:nvSpPr>
        <p:spPr bwMode="auto">
          <a:xfrm>
            <a:off x="1719376" y="3754388"/>
            <a:ext cx="976818" cy="744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>
                <a:solidFill>
                  <a:schemeClr val="accent2"/>
                </a:solidFill>
              </a:rPr>
              <a:t>Porvoo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>
                <a:solidFill>
                  <a:schemeClr val="accent2"/>
                </a:solidFill>
              </a:rPr>
              <a:t>Naantali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>
                <a:solidFill>
                  <a:schemeClr val="accent2"/>
                </a:solidFill>
              </a:rPr>
              <a:t>Rotterdam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>
                <a:solidFill>
                  <a:schemeClr val="accent2"/>
                </a:solidFill>
              </a:rPr>
              <a:t>Singapore</a:t>
            </a:r>
          </a:p>
        </p:txBody>
      </p:sp>
      <p:sp>
        <p:nvSpPr>
          <p:cNvPr id="32" name="TextBox 55"/>
          <p:cNvSpPr txBox="1">
            <a:spLocks noChangeArrowheads="1"/>
          </p:cNvSpPr>
          <p:nvPr/>
        </p:nvSpPr>
        <p:spPr bwMode="auto">
          <a:xfrm>
            <a:off x="2839131" y="3754388"/>
            <a:ext cx="1091210" cy="744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>
                <a:solidFill>
                  <a:schemeClr val="accent2"/>
                </a:solidFill>
              </a:rPr>
              <a:t>Bahrain</a:t>
            </a:r>
            <a:r>
              <a:rPr lang="fi-FI" sz="1350" dirty="0"/>
              <a:t/>
            </a:r>
            <a:br>
              <a:rPr lang="fi-FI" sz="1350" dirty="0"/>
            </a:br>
            <a:r>
              <a:rPr lang="fi-FI" sz="1050" dirty="0">
                <a:solidFill>
                  <a:schemeClr val="accent2"/>
                </a:solidFill>
              </a:rPr>
              <a:t>(yhteisyritys, Nesteen omistus-osuus 45 %)</a:t>
            </a:r>
          </a:p>
        </p:txBody>
      </p:sp>
      <p:cxnSp>
        <p:nvCxnSpPr>
          <p:cNvPr id="38" name="Straight Connector 37"/>
          <p:cNvCxnSpPr/>
          <p:nvPr/>
        </p:nvCxnSpPr>
        <p:spPr>
          <a:xfrm flipV="1">
            <a:off x="4768709" y="1471333"/>
            <a:ext cx="1491" cy="50320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5" name="TextBox 55"/>
          <p:cNvSpPr txBox="1">
            <a:spLocks noChangeArrowheads="1"/>
          </p:cNvSpPr>
          <p:nvPr/>
        </p:nvSpPr>
        <p:spPr bwMode="auto">
          <a:xfrm>
            <a:off x="1719376" y="3535832"/>
            <a:ext cx="2096573" cy="218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r>
              <a:rPr lang="fi-FI" sz="1050" b="1" dirty="0">
                <a:solidFill>
                  <a:schemeClr val="accent2"/>
                </a:solidFill>
              </a:rPr>
              <a:t>Tuotanto:</a:t>
            </a:r>
          </a:p>
        </p:txBody>
      </p:sp>
      <p:sp>
        <p:nvSpPr>
          <p:cNvPr id="37" name="TextBox 55"/>
          <p:cNvSpPr txBox="1">
            <a:spLocks noChangeArrowheads="1"/>
          </p:cNvSpPr>
          <p:nvPr/>
        </p:nvSpPr>
        <p:spPr bwMode="auto">
          <a:xfrm>
            <a:off x="4044610" y="3538703"/>
            <a:ext cx="2096573" cy="218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r>
              <a:rPr lang="fi-FI" sz="1050" b="1" dirty="0">
                <a:solidFill>
                  <a:schemeClr val="accent5"/>
                </a:solidFill>
              </a:rPr>
              <a:t>Myynti ja markkinointi:</a:t>
            </a:r>
          </a:p>
        </p:txBody>
      </p:sp>
      <p:sp>
        <p:nvSpPr>
          <p:cNvPr id="39" name="TextBox 55"/>
          <p:cNvSpPr txBox="1">
            <a:spLocks noChangeArrowheads="1"/>
          </p:cNvSpPr>
          <p:nvPr/>
        </p:nvSpPr>
        <p:spPr bwMode="auto">
          <a:xfrm>
            <a:off x="4042792" y="3754388"/>
            <a:ext cx="976818" cy="744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>
                <a:solidFill>
                  <a:schemeClr val="accent5"/>
                </a:solidFill>
              </a:rPr>
              <a:t>Espoo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>
                <a:solidFill>
                  <a:schemeClr val="accent5"/>
                </a:solidFill>
              </a:rPr>
              <a:t>Tukholma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>
                <a:solidFill>
                  <a:schemeClr val="accent5"/>
                </a:solidFill>
              </a:rPr>
              <a:t>Tallinna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>
                <a:solidFill>
                  <a:schemeClr val="accent5"/>
                </a:solidFill>
              </a:rPr>
              <a:t>Riika</a:t>
            </a:r>
          </a:p>
        </p:txBody>
      </p:sp>
      <p:sp>
        <p:nvSpPr>
          <p:cNvPr id="40" name="TextBox 55"/>
          <p:cNvSpPr txBox="1">
            <a:spLocks noChangeArrowheads="1"/>
          </p:cNvSpPr>
          <p:nvPr/>
        </p:nvSpPr>
        <p:spPr bwMode="auto">
          <a:xfrm>
            <a:off x="5160727" y="3752953"/>
            <a:ext cx="1123391" cy="744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>
                <a:solidFill>
                  <a:schemeClr val="accent5"/>
                </a:solidFill>
              </a:rPr>
              <a:t>Vilna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>
                <a:solidFill>
                  <a:schemeClr val="accent5"/>
                </a:solidFill>
              </a:rPr>
              <a:t>Pietari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>
                <a:solidFill>
                  <a:schemeClr val="accent5"/>
                </a:solidFill>
              </a:rPr>
              <a:t>Geneve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 err="1">
                <a:solidFill>
                  <a:schemeClr val="accent5"/>
                </a:solidFill>
              </a:rPr>
              <a:t>Beringen</a:t>
            </a:r>
            <a:endParaRPr lang="fi-FI" sz="1050" dirty="0">
              <a:solidFill>
                <a:schemeClr val="accent5"/>
              </a:solidFill>
            </a:endParaRPr>
          </a:p>
          <a:p>
            <a:pPr marL="128588" indent="-128588">
              <a:buFont typeface="Arial" panose="020B0604020202020204" pitchFamily="34" charset="0"/>
              <a:buChar char="•"/>
            </a:pPr>
            <a:endParaRPr lang="fi-FI" sz="1050" dirty="0">
              <a:solidFill>
                <a:schemeClr val="accent5"/>
              </a:solidFill>
            </a:endParaRPr>
          </a:p>
        </p:txBody>
      </p:sp>
      <p:sp>
        <p:nvSpPr>
          <p:cNvPr id="41" name="TextBox 55"/>
          <p:cNvSpPr txBox="1">
            <a:spLocks noChangeArrowheads="1"/>
          </p:cNvSpPr>
          <p:nvPr/>
        </p:nvSpPr>
        <p:spPr bwMode="auto">
          <a:xfrm>
            <a:off x="6423417" y="3752953"/>
            <a:ext cx="976818" cy="744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>
                <a:solidFill>
                  <a:schemeClr val="accent5"/>
                </a:solidFill>
              </a:rPr>
              <a:t>Houston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>
                <a:solidFill>
                  <a:schemeClr val="accent5"/>
                </a:solidFill>
              </a:rPr>
              <a:t>Toronto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>
                <a:solidFill>
                  <a:schemeClr val="accent5"/>
                </a:solidFill>
              </a:rPr>
              <a:t>Dubai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fi-FI" sz="1050" dirty="0">
                <a:solidFill>
                  <a:schemeClr val="accent5"/>
                </a:solidFill>
              </a:rPr>
              <a:t>Singapore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endParaRPr lang="fi-FI" sz="1050" dirty="0">
              <a:solidFill>
                <a:schemeClr val="accent5"/>
              </a:solidFill>
            </a:endParaRPr>
          </a:p>
        </p:txBody>
      </p:sp>
      <p:sp>
        <p:nvSpPr>
          <p:cNvPr id="42" name="Snip and Round Single Corner Rectangle 41"/>
          <p:cNvSpPr/>
          <p:nvPr/>
        </p:nvSpPr>
        <p:spPr>
          <a:xfrm rot="10800000">
            <a:off x="4016066" y="1155143"/>
            <a:ext cx="1509941" cy="314915"/>
          </a:xfrm>
          <a:prstGeom prst="snipRoundRect">
            <a:avLst>
              <a:gd name="adj1" fmla="val 16338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noProof="1"/>
          </a:p>
        </p:txBody>
      </p:sp>
      <p:sp>
        <p:nvSpPr>
          <p:cNvPr id="43" name="TextBox 55"/>
          <p:cNvSpPr txBox="1">
            <a:spLocks noChangeArrowheads="1"/>
          </p:cNvSpPr>
          <p:nvPr/>
        </p:nvSpPr>
        <p:spPr bwMode="auto">
          <a:xfrm>
            <a:off x="4051206" y="1214870"/>
            <a:ext cx="1474802" cy="195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fi-FI" sz="900" b="1" dirty="0">
                <a:solidFill>
                  <a:schemeClr val="bg1"/>
                </a:solidFill>
              </a:rPr>
              <a:t>Pääkonttori: Espoo</a:t>
            </a:r>
            <a:endParaRPr lang="fi-FI" sz="900" dirty="0">
              <a:solidFill>
                <a:schemeClr val="bg1"/>
              </a:solidFill>
            </a:endParaRPr>
          </a:p>
        </p:txBody>
      </p:sp>
      <p:sp>
        <p:nvSpPr>
          <p:cNvPr id="44" name="Oval 43"/>
          <p:cNvSpPr/>
          <p:nvPr/>
        </p:nvSpPr>
        <p:spPr bwMode="auto">
          <a:xfrm>
            <a:off x="4864526" y="1974487"/>
            <a:ext cx="69143" cy="69143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sz="1350" dirty="0"/>
          </a:p>
        </p:txBody>
      </p:sp>
    </p:spTree>
    <p:extLst>
      <p:ext uri="{BB962C8B-B14F-4D97-AF65-F5344CB8AC3E}">
        <p14:creationId xmlns:p14="http://schemas.microsoft.com/office/powerpoint/2010/main" val="25525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76" t="116" r="19032" b="759"/>
          <a:stretch/>
        </p:blipFill>
        <p:spPr>
          <a:xfrm>
            <a:off x="2386833" y="266415"/>
            <a:ext cx="2099028" cy="4375685"/>
          </a:xfrm>
        </p:spPr>
      </p:pic>
      <p:sp>
        <p:nvSpPr>
          <p:cNvPr id="24" name="Rounded Rectangle 23"/>
          <p:cNvSpPr/>
          <p:nvPr/>
        </p:nvSpPr>
        <p:spPr>
          <a:xfrm>
            <a:off x="2389093" y="266415"/>
            <a:ext cx="2096768" cy="4402354"/>
          </a:xfrm>
          <a:prstGeom prst="roundRect">
            <a:avLst>
              <a:gd name="adj" fmla="val 0"/>
            </a:avLst>
          </a:prstGeom>
          <a:gradFill>
            <a:gsLst>
              <a:gs pos="85000">
                <a:schemeClr val="bg1">
                  <a:alpha val="0"/>
                </a:schemeClr>
              </a:gs>
              <a:gs pos="25000">
                <a:srgbClr val="002060">
                  <a:alpha val="47000"/>
                </a:srgbClr>
              </a:gs>
            </a:gsLst>
            <a:lin ang="16200000" scaled="1"/>
          </a:gradFill>
          <a:ln w="12700" cmpd="sng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tIns="46800" rIns="108000"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20" name="Picture Placeholder 19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67" t="285" r="44692" b="-285"/>
          <a:stretch/>
        </p:blipFill>
        <p:spPr>
          <a:xfrm>
            <a:off x="6750669" y="256203"/>
            <a:ext cx="2066460" cy="4412566"/>
          </a:xfrm>
        </p:spPr>
      </p:pic>
      <p:pic>
        <p:nvPicPr>
          <p:cNvPr id="14" name="Picture Placeholder 13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65" r="2594" b="26623"/>
          <a:stretch/>
        </p:blipFill>
        <p:spPr>
          <a:xfrm>
            <a:off x="288735" y="255519"/>
            <a:ext cx="2022931" cy="4413250"/>
          </a:xfrm>
        </p:spPr>
      </p:pic>
      <p:sp>
        <p:nvSpPr>
          <p:cNvPr id="2" name="TextBox 1"/>
          <p:cNvSpPr txBox="1"/>
          <p:nvPr/>
        </p:nvSpPr>
        <p:spPr>
          <a:xfrm>
            <a:off x="424873" y="3317570"/>
            <a:ext cx="1792787" cy="1016753"/>
          </a:xfrm>
          <a:prstGeom prst="rect">
            <a:avLst/>
          </a:prstGeom>
          <a:noFill/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lIns="108000" tIns="46800" rIns="108000" rtlCol="0">
            <a:spAutoFit/>
          </a:bodyPr>
          <a:lstStyle/>
          <a:p>
            <a:pPr algn="ctr"/>
            <a:r>
              <a:rPr lang="fi-FI" sz="2000" b="1" dirty="0">
                <a:solidFill>
                  <a:schemeClr val="bg1"/>
                </a:solidFill>
              </a:rPr>
              <a:t>Puhtaampaa polttoainetta </a:t>
            </a:r>
            <a:r>
              <a:rPr lang="fi-FI" sz="2000" b="1" dirty="0" smtClean="0">
                <a:solidFill>
                  <a:schemeClr val="bg1"/>
                </a:solidFill>
              </a:rPr>
              <a:t>maanteillä  </a:t>
            </a:r>
            <a:endParaRPr lang="fi-FI" sz="2000" b="1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581833" y="3344784"/>
            <a:ext cx="1781621" cy="1016753"/>
          </a:xfrm>
          <a:prstGeom prst="rect">
            <a:avLst/>
          </a:prstGeom>
          <a:noFill/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lIns="108000" tIns="46800" rIns="108000" rtlCol="0">
            <a:spAutoFit/>
          </a:bodyPr>
          <a:lstStyle/>
          <a:p>
            <a:pPr algn="ctr"/>
            <a:r>
              <a:rPr lang="fi-FI" sz="2000" b="1" dirty="0">
                <a:solidFill>
                  <a:schemeClr val="bg1"/>
                </a:solidFill>
              </a:rPr>
              <a:t>Vähärikkistä polttoainetta merellä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808521" y="3190895"/>
            <a:ext cx="1993936" cy="1324530"/>
          </a:xfrm>
          <a:prstGeom prst="rect">
            <a:avLst/>
          </a:prstGeom>
          <a:noFill/>
          <a:effectLst>
            <a:glow rad="101600">
              <a:schemeClr val="accent5">
                <a:satMod val="175000"/>
                <a:alpha val="40000"/>
              </a:schemeClr>
            </a:glow>
          </a:effectLst>
        </p:spPr>
        <p:txBody>
          <a:bodyPr wrap="square" lIns="108000" tIns="46800" rIns="108000" rtlCol="0">
            <a:spAutoFit/>
          </a:bodyPr>
          <a:lstStyle/>
          <a:p>
            <a:pPr algn="ctr"/>
            <a:r>
              <a:rPr lang="fi-FI" sz="2000" b="1" dirty="0">
                <a:solidFill>
                  <a:schemeClr val="bg1"/>
                </a:solidFill>
              </a:rPr>
              <a:t>Uusiutuvaa </a:t>
            </a:r>
            <a:r>
              <a:rPr lang="fi-FI" sz="2000" b="1" dirty="0" smtClean="0">
                <a:solidFill>
                  <a:schemeClr val="bg1"/>
                </a:solidFill>
              </a:rPr>
              <a:t>lentopoltto-ainetta </a:t>
            </a:r>
            <a:br>
              <a:rPr lang="fi-FI" sz="2000" b="1" dirty="0" smtClean="0">
                <a:solidFill>
                  <a:schemeClr val="bg1"/>
                </a:solidFill>
              </a:rPr>
            </a:br>
            <a:r>
              <a:rPr lang="fi-FI" sz="2000" b="1" dirty="0" smtClean="0">
                <a:solidFill>
                  <a:schemeClr val="bg1"/>
                </a:solidFill>
              </a:rPr>
              <a:t>ilmassa</a:t>
            </a:r>
            <a:endParaRPr lang="fi-FI" sz="2000" b="1" dirty="0">
              <a:solidFill>
                <a:schemeClr val="bg1"/>
              </a:solidFill>
            </a:endParaRPr>
          </a:p>
        </p:txBody>
      </p:sp>
      <p:pic>
        <p:nvPicPr>
          <p:cNvPr id="4" name="Kuva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093" r="10906"/>
          <a:stretch/>
        </p:blipFill>
        <p:spPr>
          <a:xfrm>
            <a:off x="4561028" y="266415"/>
            <a:ext cx="2129920" cy="4402354"/>
          </a:xfrm>
          <a:prstGeom prst="rect">
            <a:avLst/>
          </a:prstGeom>
        </p:spPr>
      </p:pic>
      <p:sp>
        <p:nvSpPr>
          <p:cNvPr id="5" name="Tekstiruutu 4"/>
          <p:cNvSpPr txBox="1"/>
          <p:nvPr/>
        </p:nvSpPr>
        <p:spPr>
          <a:xfrm>
            <a:off x="4678601" y="3162470"/>
            <a:ext cx="1949661" cy="1323439"/>
          </a:xfrm>
          <a:prstGeom prst="rect">
            <a:avLst/>
          </a:prstGeom>
          <a:noFill/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GB" sz="2000" b="1" dirty="0" err="1" smtClean="0">
                <a:solidFill>
                  <a:schemeClr val="bg1"/>
                </a:solidFill>
              </a:rPr>
              <a:t>Uusiutuvia</a:t>
            </a:r>
            <a:r>
              <a:rPr lang="en-GB" sz="2000" b="1" dirty="0" smtClean="0">
                <a:solidFill>
                  <a:schemeClr val="bg1"/>
                </a:solidFill>
              </a:rPr>
              <a:t> </a:t>
            </a:r>
            <a:r>
              <a:rPr lang="en-GB" sz="2000" b="1" dirty="0" err="1" smtClean="0">
                <a:solidFill>
                  <a:schemeClr val="bg1"/>
                </a:solidFill>
              </a:rPr>
              <a:t>ratkaisuja</a:t>
            </a:r>
            <a:r>
              <a:rPr lang="en-GB" sz="2000" b="1" dirty="0" smtClean="0">
                <a:solidFill>
                  <a:schemeClr val="bg1"/>
                </a:solidFill>
              </a:rPr>
              <a:t>  </a:t>
            </a:r>
            <a:r>
              <a:rPr lang="en-GB" sz="2000" b="1" dirty="0" err="1" smtClean="0">
                <a:solidFill>
                  <a:schemeClr val="bg1"/>
                </a:solidFill>
              </a:rPr>
              <a:t>kemian-teollisuudelle</a:t>
            </a:r>
            <a:endParaRPr lang="en-GB" sz="20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346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3937" y="528637"/>
            <a:ext cx="7096125" cy="4086225"/>
          </a:xfrm>
          <a:prstGeom prst="rect">
            <a:avLst/>
          </a:prstGeom>
        </p:spPr>
      </p:pic>
      <p:sp>
        <p:nvSpPr>
          <p:cNvPr id="4" name="Title 23"/>
          <p:cNvSpPr txBox="1">
            <a:spLocks/>
          </p:cNvSpPr>
          <p:nvPr/>
        </p:nvSpPr>
        <p:spPr>
          <a:xfrm>
            <a:off x="321547" y="99000"/>
            <a:ext cx="8018411" cy="6858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 err="1" smtClean="0">
                <a:solidFill>
                  <a:srgbClr val="001177"/>
                </a:solidFill>
              </a:rPr>
              <a:t>Neste</a:t>
            </a:r>
            <a:r>
              <a:rPr lang="en-US" dirty="0" smtClean="0">
                <a:solidFill>
                  <a:srgbClr val="001177"/>
                </a:solidFill>
              </a:rPr>
              <a:t> 70 </a:t>
            </a:r>
            <a:r>
              <a:rPr lang="en-US" dirty="0" err="1" smtClean="0">
                <a:solidFill>
                  <a:srgbClr val="001177"/>
                </a:solidFill>
              </a:rPr>
              <a:t>vuotta</a:t>
            </a:r>
            <a:r>
              <a:rPr lang="en-US" dirty="0">
                <a:solidFill>
                  <a:srgbClr val="001177"/>
                </a:solidFill>
              </a:rPr>
              <a:t> </a:t>
            </a:r>
            <a:r>
              <a:rPr lang="en-US" dirty="0" smtClean="0">
                <a:solidFill>
                  <a:srgbClr val="001177"/>
                </a:solidFill>
              </a:rPr>
              <a:t>- </a:t>
            </a:r>
            <a:r>
              <a:rPr lang="en-US" dirty="0" err="1" smtClean="0">
                <a:solidFill>
                  <a:srgbClr val="001177"/>
                </a:solidFill>
              </a:rPr>
              <a:t>suomalaisesta</a:t>
            </a:r>
            <a:r>
              <a:rPr lang="en-US" dirty="0" smtClean="0">
                <a:solidFill>
                  <a:srgbClr val="001177"/>
                </a:solidFill>
              </a:rPr>
              <a:t> </a:t>
            </a:r>
            <a:r>
              <a:rPr lang="en-US" dirty="0" err="1" smtClean="0">
                <a:solidFill>
                  <a:srgbClr val="001177"/>
                </a:solidFill>
              </a:rPr>
              <a:t>öljynjalostajasta</a:t>
            </a:r>
            <a:r>
              <a:rPr lang="en-US" dirty="0" smtClean="0">
                <a:solidFill>
                  <a:srgbClr val="001177"/>
                </a:solidFill>
              </a:rPr>
              <a:t> mailman </a:t>
            </a:r>
            <a:r>
              <a:rPr lang="en-US" dirty="0" err="1" smtClean="0">
                <a:solidFill>
                  <a:srgbClr val="001177"/>
                </a:solidFill>
              </a:rPr>
              <a:t>suurimmaksi</a:t>
            </a:r>
            <a:r>
              <a:rPr lang="en-US" dirty="0" smtClean="0">
                <a:solidFill>
                  <a:srgbClr val="001177"/>
                </a:solidFill>
              </a:rPr>
              <a:t> </a:t>
            </a:r>
            <a:r>
              <a:rPr lang="en-US" dirty="0" err="1" smtClean="0">
                <a:solidFill>
                  <a:srgbClr val="001177"/>
                </a:solidFill>
              </a:rPr>
              <a:t>uusiutuvan</a:t>
            </a:r>
            <a:r>
              <a:rPr lang="en-US" dirty="0" smtClean="0">
                <a:solidFill>
                  <a:srgbClr val="001177"/>
                </a:solidFill>
              </a:rPr>
              <a:t> </a:t>
            </a:r>
            <a:r>
              <a:rPr lang="en-US" dirty="0" err="1" smtClean="0">
                <a:solidFill>
                  <a:srgbClr val="001177"/>
                </a:solidFill>
              </a:rPr>
              <a:t>dieselin</a:t>
            </a:r>
            <a:r>
              <a:rPr lang="en-US" dirty="0" smtClean="0">
                <a:solidFill>
                  <a:srgbClr val="001177"/>
                </a:solidFill>
              </a:rPr>
              <a:t> </a:t>
            </a:r>
            <a:r>
              <a:rPr lang="en-US" dirty="0" err="1" smtClean="0">
                <a:solidFill>
                  <a:srgbClr val="001177"/>
                </a:solidFill>
              </a:rPr>
              <a:t>tuottajaksi</a:t>
            </a:r>
            <a:endParaRPr lang="fi-FI" dirty="0">
              <a:solidFill>
                <a:srgbClr val="0011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18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/>
        </p:nvGrpSpPr>
        <p:grpSpPr>
          <a:xfrm>
            <a:off x="366385" y="1261328"/>
            <a:ext cx="8411230" cy="3441487"/>
            <a:chOff x="273376" y="1224000"/>
            <a:chExt cx="8619201" cy="3441487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48" t="33097" r="2823" b="21331"/>
            <a:stretch/>
          </p:blipFill>
          <p:spPr>
            <a:xfrm>
              <a:off x="273376" y="1224000"/>
              <a:ext cx="8619201" cy="3441487"/>
            </a:xfrm>
            <a:prstGeom prst="roundRect">
              <a:avLst>
                <a:gd name="adj" fmla="val 2630"/>
              </a:avLst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1873" t="73571" r="2824" b="21331"/>
            <a:stretch/>
          </p:blipFill>
          <p:spPr>
            <a:xfrm>
              <a:off x="8408465" y="4280493"/>
              <a:ext cx="484112" cy="384994"/>
            </a:xfrm>
            <a:prstGeom prst="rect">
              <a:avLst/>
            </a:prstGeom>
          </p:spPr>
        </p:pic>
      </p:grpSp>
      <p:cxnSp>
        <p:nvCxnSpPr>
          <p:cNvPr id="8" name="Straight Connector 7"/>
          <p:cNvCxnSpPr>
            <a:cxnSpLocks/>
          </p:cNvCxnSpPr>
          <p:nvPr/>
        </p:nvCxnSpPr>
        <p:spPr>
          <a:xfrm>
            <a:off x="7656394" y="2212716"/>
            <a:ext cx="1071349" cy="0"/>
          </a:xfrm>
          <a:prstGeom prst="line">
            <a:avLst/>
          </a:prstGeom>
          <a:ln w="57150" cmpd="sng">
            <a:solidFill>
              <a:schemeClr val="bg1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ardrop 22"/>
          <p:cNvSpPr>
            <a:spLocks noChangeAspect="1"/>
          </p:cNvSpPr>
          <p:nvPr/>
        </p:nvSpPr>
        <p:spPr bwMode="auto">
          <a:xfrm>
            <a:off x="517263" y="1887963"/>
            <a:ext cx="638285" cy="639849"/>
          </a:xfrm>
          <a:prstGeom prst="teardrop">
            <a:avLst/>
          </a:prstGeom>
          <a:solidFill>
            <a:sysClr val="window" lastClr="FFFFFF">
              <a:alpha val="82000"/>
            </a:sysClr>
          </a:solidFill>
          <a:ln w="12700" cap="flat" cmpd="sng" algn="ctr">
            <a:noFill/>
            <a:prstDash val="solid"/>
          </a:ln>
          <a:effectLst/>
        </p:spPr>
        <p:txBody>
          <a:bodyPr wrap="none" anchor="ctr"/>
          <a:lstStyle/>
          <a:p>
            <a:pPr marL="0" marR="0" indent="0" algn="ct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kern="0" dirty="0">
                <a:solidFill>
                  <a:schemeClr val="accent2"/>
                </a:solidFill>
                <a:cs typeface="Arial"/>
              </a:rPr>
              <a:t>1948</a:t>
            </a:r>
            <a:endParaRPr lang="en-US" sz="1100" kern="0" dirty="0">
              <a:solidFill>
                <a:schemeClr val="accent2"/>
              </a:solidFill>
              <a:latin typeface="Calibri"/>
            </a:endParaRPr>
          </a:p>
        </p:txBody>
      </p:sp>
      <p:sp>
        <p:nvSpPr>
          <p:cNvPr id="24" name="Teardrop 23"/>
          <p:cNvSpPr>
            <a:spLocks noChangeAspect="1"/>
          </p:cNvSpPr>
          <p:nvPr/>
        </p:nvSpPr>
        <p:spPr bwMode="auto">
          <a:xfrm>
            <a:off x="3919427" y="1896234"/>
            <a:ext cx="638285" cy="639849"/>
          </a:xfrm>
          <a:prstGeom prst="teardrop">
            <a:avLst/>
          </a:prstGeom>
          <a:solidFill>
            <a:sysClr val="window" lastClr="FFFFFF">
              <a:alpha val="82000"/>
            </a:sysClr>
          </a:solidFill>
          <a:ln w="12700" cap="flat" cmpd="sng" algn="ctr">
            <a:noFill/>
            <a:prstDash val="solid"/>
          </a:ln>
          <a:effectLst/>
        </p:spPr>
        <p:txBody>
          <a:bodyPr wrap="none" anchor="ctr"/>
          <a:lstStyle/>
          <a:p>
            <a:pPr marL="0" marR="0" indent="0" algn="ct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kern="0" dirty="0">
                <a:solidFill>
                  <a:schemeClr val="accent2"/>
                </a:solidFill>
                <a:cs typeface="Arial"/>
              </a:rPr>
              <a:t>2005</a:t>
            </a:r>
            <a:endParaRPr lang="en-US" sz="1100" kern="0" dirty="0">
              <a:solidFill>
                <a:schemeClr val="accent2"/>
              </a:solidFill>
              <a:latin typeface="Calibri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>
          <a:xfrm>
            <a:off x="244800" y="244800"/>
            <a:ext cx="8899200" cy="979200"/>
          </a:xfrm>
        </p:spPr>
        <p:txBody>
          <a:bodyPr anchor="ctr">
            <a:normAutofit fontScale="90000"/>
          </a:bodyPr>
          <a:lstStyle/>
          <a:p>
            <a:r>
              <a:rPr lang="en-US" dirty="0" err="1" smtClean="0">
                <a:solidFill>
                  <a:srgbClr val="001177"/>
                </a:solidFill>
              </a:rPr>
              <a:t>Matkamme</a:t>
            </a:r>
            <a:r>
              <a:rPr lang="en-US" dirty="0" smtClean="0">
                <a:solidFill>
                  <a:srgbClr val="001177"/>
                </a:solidFill>
              </a:rPr>
              <a:t> </a:t>
            </a:r>
            <a:r>
              <a:rPr lang="en-US" dirty="0" err="1" smtClean="0">
                <a:solidFill>
                  <a:srgbClr val="001177"/>
                </a:solidFill>
              </a:rPr>
              <a:t>öljynjalostusyhtiöstä</a:t>
            </a:r>
            <a:r>
              <a:rPr lang="en-US" dirty="0" smtClean="0">
                <a:solidFill>
                  <a:srgbClr val="001177"/>
                </a:solidFill>
              </a:rPr>
              <a:t> </a:t>
            </a:r>
            <a:r>
              <a:rPr lang="en-US" dirty="0" err="1" smtClean="0">
                <a:solidFill>
                  <a:srgbClr val="001177"/>
                </a:solidFill>
              </a:rPr>
              <a:t>maailman</a:t>
            </a:r>
            <a:r>
              <a:rPr lang="en-US" dirty="0" smtClean="0">
                <a:solidFill>
                  <a:srgbClr val="001177"/>
                </a:solidFill>
              </a:rPr>
              <a:t> </a:t>
            </a:r>
            <a:r>
              <a:rPr lang="en-US" dirty="0" err="1">
                <a:solidFill>
                  <a:srgbClr val="001177"/>
                </a:solidFill>
              </a:rPr>
              <a:t>suurimmaksi</a:t>
            </a:r>
            <a:r>
              <a:rPr lang="en-US" dirty="0">
                <a:solidFill>
                  <a:srgbClr val="001177"/>
                </a:solidFill>
              </a:rPr>
              <a:t> </a:t>
            </a:r>
            <a:r>
              <a:rPr lang="en-US" dirty="0" err="1">
                <a:solidFill>
                  <a:srgbClr val="001177"/>
                </a:solidFill>
              </a:rPr>
              <a:t>uusiutuvan</a:t>
            </a:r>
            <a:r>
              <a:rPr lang="en-US" dirty="0">
                <a:solidFill>
                  <a:srgbClr val="001177"/>
                </a:solidFill>
              </a:rPr>
              <a:t> </a:t>
            </a:r>
            <a:r>
              <a:rPr lang="en-US" dirty="0" err="1">
                <a:solidFill>
                  <a:srgbClr val="001177"/>
                </a:solidFill>
              </a:rPr>
              <a:t>dieselin</a:t>
            </a:r>
            <a:r>
              <a:rPr lang="en-US" dirty="0">
                <a:solidFill>
                  <a:srgbClr val="001177"/>
                </a:solidFill>
              </a:rPr>
              <a:t> </a:t>
            </a:r>
            <a:r>
              <a:rPr lang="en-US" dirty="0" err="1">
                <a:solidFill>
                  <a:srgbClr val="001177"/>
                </a:solidFill>
              </a:rPr>
              <a:t>tuottajaksi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7" name="Teardrop 26"/>
          <p:cNvSpPr>
            <a:spLocks noChangeAspect="1"/>
          </p:cNvSpPr>
          <p:nvPr/>
        </p:nvSpPr>
        <p:spPr bwMode="auto">
          <a:xfrm>
            <a:off x="7010542" y="1886165"/>
            <a:ext cx="638285" cy="639849"/>
          </a:xfrm>
          <a:prstGeom prst="teardrop">
            <a:avLst/>
          </a:prstGeom>
          <a:solidFill>
            <a:sysClr val="window" lastClr="FFFFFF">
              <a:alpha val="82000"/>
            </a:sysClr>
          </a:solidFill>
          <a:ln w="12700" cap="flat" cmpd="sng" algn="ctr">
            <a:noFill/>
            <a:prstDash val="solid"/>
          </a:ln>
          <a:effectLst/>
        </p:spPr>
        <p:txBody>
          <a:bodyPr wrap="none" anchor="ctr"/>
          <a:lstStyle/>
          <a:p>
            <a:pPr marL="0" marR="0" indent="0" algn="ct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kern="0" dirty="0">
                <a:solidFill>
                  <a:schemeClr val="accent2"/>
                </a:solidFill>
                <a:cs typeface="Arial"/>
              </a:rPr>
              <a:t>2020-</a:t>
            </a:r>
            <a:endParaRPr lang="en-US" sz="1100" kern="0" dirty="0">
              <a:solidFill>
                <a:schemeClr val="accent2"/>
              </a:solidFill>
              <a:latin typeface="Calibri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697733" y="2612405"/>
            <a:ext cx="1138935" cy="589028"/>
            <a:chOff x="3248103" y="3294794"/>
            <a:chExt cx="1094918" cy="702685"/>
          </a:xfrm>
        </p:grpSpPr>
        <p:sp>
          <p:nvSpPr>
            <p:cNvPr id="37" name="Rounded Rectangle 36"/>
            <p:cNvSpPr/>
            <p:nvPr/>
          </p:nvSpPr>
          <p:spPr>
            <a:xfrm>
              <a:off x="3248103" y="3294794"/>
              <a:ext cx="1094918" cy="702685"/>
            </a:xfrm>
            <a:prstGeom prst="roundRect">
              <a:avLst/>
            </a:prstGeom>
            <a:solidFill>
              <a:schemeClr val="bg1"/>
            </a:solidFill>
            <a:ln w="127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tIns="46800" rIns="108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4137837" y="3294794"/>
              <a:ext cx="205184" cy="264867"/>
            </a:xfrm>
            <a:prstGeom prst="rect">
              <a:avLst/>
            </a:prstGeom>
            <a:solidFill>
              <a:schemeClr val="bg1"/>
            </a:solidFill>
            <a:ln w="127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tIns="46800" rIns="108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5199707" y="2621200"/>
            <a:ext cx="1120009" cy="721745"/>
            <a:chOff x="491257" y="3301293"/>
            <a:chExt cx="983982" cy="1147694"/>
          </a:xfrm>
        </p:grpSpPr>
        <p:sp>
          <p:nvSpPr>
            <p:cNvPr id="40" name="Rounded Rectangle 39"/>
            <p:cNvSpPr/>
            <p:nvPr/>
          </p:nvSpPr>
          <p:spPr>
            <a:xfrm>
              <a:off x="491257" y="3301293"/>
              <a:ext cx="983982" cy="1147694"/>
            </a:xfrm>
            <a:prstGeom prst="roundRect">
              <a:avLst/>
            </a:prstGeom>
            <a:solidFill>
              <a:schemeClr val="bg1"/>
            </a:solidFill>
            <a:ln w="127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tIns="46800" rIns="108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1270055" y="3301293"/>
              <a:ext cx="205184" cy="264867"/>
            </a:xfrm>
            <a:prstGeom prst="rect">
              <a:avLst/>
            </a:prstGeom>
            <a:solidFill>
              <a:schemeClr val="bg1"/>
            </a:solidFill>
            <a:ln w="127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tIns="46800" rIns="108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2" name="TextBox 21"/>
          <p:cNvSpPr txBox="1"/>
          <p:nvPr/>
        </p:nvSpPr>
        <p:spPr bwMode="auto">
          <a:xfrm>
            <a:off x="5138875" y="2594898"/>
            <a:ext cx="1171156" cy="600164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lvl="0" algn="ctr"/>
            <a:endParaRPr lang="en-US" sz="900" dirty="0">
              <a:solidFill>
                <a:schemeClr val="accent2"/>
              </a:solidFill>
            </a:endParaRPr>
          </a:p>
          <a:p>
            <a:pPr lvl="0" algn="ctr"/>
            <a:r>
              <a:rPr lang="en-US" sz="800" dirty="0" err="1" smtClean="0">
                <a:solidFill>
                  <a:schemeClr val="accent2"/>
                </a:solidFill>
              </a:rPr>
              <a:t>Uusiutuvat</a:t>
            </a:r>
            <a:r>
              <a:rPr lang="en-US" sz="800" dirty="0" smtClean="0">
                <a:solidFill>
                  <a:schemeClr val="accent2"/>
                </a:solidFill>
              </a:rPr>
              <a:t> </a:t>
            </a:r>
            <a:r>
              <a:rPr lang="en-US" sz="800" dirty="0" err="1" smtClean="0">
                <a:solidFill>
                  <a:schemeClr val="accent2"/>
                </a:solidFill>
              </a:rPr>
              <a:t>tuotteet</a:t>
            </a:r>
            <a:r>
              <a:rPr lang="en-US" sz="800" dirty="0" smtClean="0">
                <a:solidFill>
                  <a:schemeClr val="accent2"/>
                </a:solidFill>
              </a:rPr>
              <a:t> </a:t>
            </a:r>
            <a:r>
              <a:rPr lang="en-US" sz="800" dirty="0" err="1" smtClean="0">
                <a:solidFill>
                  <a:schemeClr val="accent2"/>
                </a:solidFill>
              </a:rPr>
              <a:t>muodostavat</a:t>
            </a:r>
            <a:r>
              <a:rPr lang="en-US" sz="800" dirty="0" smtClean="0">
                <a:solidFill>
                  <a:schemeClr val="accent2"/>
                </a:solidFill>
              </a:rPr>
              <a:t> </a:t>
            </a:r>
            <a:r>
              <a:rPr lang="en-US" sz="800" dirty="0">
                <a:solidFill>
                  <a:schemeClr val="accent2"/>
                </a:solidFill>
              </a:rPr>
              <a:t>46% </a:t>
            </a:r>
            <a:r>
              <a:rPr lang="en-US" sz="800" dirty="0" err="1" smtClean="0">
                <a:solidFill>
                  <a:schemeClr val="accent2"/>
                </a:solidFill>
              </a:rPr>
              <a:t>Nesteen</a:t>
            </a:r>
            <a:r>
              <a:rPr lang="en-US" sz="800" dirty="0" smtClean="0">
                <a:solidFill>
                  <a:schemeClr val="accent2"/>
                </a:solidFill>
              </a:rPr>
              <a:t>  </a:t>
            </a:r>
            <a:r>
              <a:rPr lang="en-US" sz="800" dirty="0" err="1" smtClean="0">
                <a:solidFill>
                  <a:schemeClr val="accent2"/>
                </a:solidFill>
              </a:rPr>
              <a:t>tuloksesta</a:t>
            </a:r>
            <a:endParaRPr lang="fi-FI" sz="800" dirty="0">
              <a:solidFill>
                <a:schemeClr val="accent2"/>
              </a:solidFill>
            </a:endParaRPr>
          </a:p>
        </p:txBody>
      </p:sp>
      <p:sp>
        <p:nvSpPr>
          <p:cNvPr id="33" name="TextBox 32"/>
          <p:cNvSpPr txBox="1"/>
          <p:nvPr/>
        </p:nvSpPr>
        <p:spPr bwMode="auto">
          <a:xfrm>
            <a:off x="3676550" y="2712482"/>
            <a:ext cx="1194153" cy="374571"/>
          </a:xfrm>
          <a:prstGeom prst="round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lvl="0" algn="ctr"/>
            <a:r>
              <a:rPr lang="en-US" sz="800" dirty="0" err="1" smtClean="0">
                <a:solidFill>
                  <a:schemeClr val="accent2"/>
                </a:solidFill>
              </a:rPr>
              <a:t>Neste</a:t>
            </a:r>
            <a:r>
              <a:rPr lang="en-US" sz="800" dirty="0">
                <a:solidFill>
                  <a:schemeClr val="accent2"/>
                </a:solidFill>
              </a:rPr>
              <a:t> </a:t>
            </a:r>
            <a:r>
              <a:rPr lang="en-US" sz="800" dirty="0" err="1" smtClean="0">
                <a:solidFill>
                  <a:schemeClr val="accent2"/>
                </a:solidFill>
              </a:rPr>
              <a:t>listautuu</a:t>
            </a:r>
            <a:r>
              <a:rPr lang="en-US" sz="800" dirty="0" smtClean="0">
                <a:solidFill>
                  <a:schemeClr val="accent2"/>
                </a:solidFill>
              </a:rPr>
              <a:t> </a:t>
            </a:r>
            <a:r>
              <a:rPr lang="en-US" sz="800" dirty="0" err="1" smtClean="0">
                <a:solidFill>
                  <a:schemeClr val="accent2"/>
                </a:solidFill>
              </a:rPr>
              <a:t>pörssiin</a:t>
            </a:r>
            <a:endParaRPr lang="fi-FI" sz="950" dirty="0">
              <a:solidFill>
                <a:schemeClr val="accent2"/>
              </a:solidFill>
            </a:endParaRPr>
          </a:p>
        </p:txBody>
      </p:sp>
      <p:cxnSp>
        <p:nvCxnSpPr>
          <p:cNvPr id="46" name="Straight Connector 45"/>
          <p:cNvCxnSpPr>
            <a:cxnSpLocks/>
            <a:endCxn id="27" idx="4"/>
          </p:cNvCxnSpPr>
          <p:nvPr/>
        </p:nvCxnSpPr>
        <p:spPr>
          <a:xfrm flipV="1">
            <a:off x="6107373" y="2206090"/>
            <a:ext cx="903169" cy="6626"/>
          </a:xfrm>
          <a:prstGeom prst="line">
            <a:avLst/>
          </a:prstGeom>
          <a:ln w="57150" cmpd="sng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ardrop 34"/>
          <p:cNvSpPr>
            <a:spLocks noChangeAspect="1"/>
          </p:cNvSpPr>
          <p:nvPr/>
        </p:nvSpPr>
        <p:spPr bwMode="auto">
          <a:xfrm>
            <a:off x="2271267" y="1892792"/>
            <a:ext cx="638285" cy="639849"/>
          </a:xfrm>
          <a:prstGeom prst="teardrop">
            <a:avLst/>
          </a:prstGeom>
          <a:solidFill>
            <a:sysClr val="window" lastClr="FFFFFF">
              <a:alpha val="82000"/>
            </a:sysClr>
          </a:solidFill>
          <a:ln w="12700" cap="flat" cmpd="sng" algn="ctr">
            <a:noFill/>
            <a:prstDash val="solid"/>
          </a:ln>
          <a:effectLst/>
        </p:spPr>
        <p:txBody>
          <a:bodyPr wrap="none" anchor="ctr"/>
          <a:lstStyle/>
          <a:p>
            <a:pPr marL="0" marR="0" indent="0" algn="ct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kern="0" dirty="0">
                <a:solidFill>
                  <a:schemeClr val="accent2"/>
                </a:solidFill>
                <a:cs typeface="Arial"/>
              </a:rPr>
              <a:t>1996</a:t>
            </a:r>
            <a:endParaRPr lang="en-US" sz="1100" kern="0" dirty="0">
              <a:solidFill>
                <a:schemeClr val="accent2"/>
              </a:solidFill>
              <a:latin typeface="Calibri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1897268" y="2612403"/>
            <a:ext cx="1347579" cy="917838"/>
            <a:chOff x="3248103" y="3294794"/>
            <a:chExt cx="1227162" cy="1071230"/>
          </a:xfrm>
        </p:grpSpPr>
        <p:sp>
          <p:nvSpPr>
            <p:cNvPr id="47" name="Rounded Rectangle 36"/>
            <p:cNvSpPr/>
            <p:nvPr/>
          </p:nvSpPr>
          <p:spPr>
            <a:xfrm>
              <a:off x="3248103" y="3294794"/>
              <a:ext cx="1227162" cy="1071230"/>
            </a:xfrm>
            <a:prstGeom prst="roundRect">
              <a:avLst/>
            </a:prstGeom>
            <a:solidFill>
              <a:schemeClr val="bg1"/>
            </a:solidFill>
            <a:ln w="127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tIns="46800" rIns="108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4270081" y="3294794"/>
              <a:ext cx="205184" cy="264867"/>
            </a:xfrm>
            <a:prstGeom prst="rect">
              <a:avLst/>
            </a:prstGeom>
            <a:solidFill>
              <a:schemeClr val="bg1"/>
            </a:solidFill>
            <a:ln w="127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tIns="46800" rIns="108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51" name="TextBox 50"/>
          <p:cNvSpPr txBox="1"/>
          <p:nvPr/>
        </p:nvSpPr>
        <p:spPr bwMode="auto">
          <a:xfrm>
            <a:off x="1855768" y="2748906"/>
            <a:ext cx="1443992" cy="646986"/>
          </a:xfrm>
          <a:prstGeom prst="round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lvl="0" algn="ctr"/>
            <a:r>
              <a:rPr lang="en-US" sz="800" dirty="0" err="1" smtClean="0">
                <a:solidFill>
                  <a:schemeClr val="accent2"/>
                </a:solidFill>
              </a:rPr>
              <a:t>Neste</a:t>
            </a:r>
            <a:r>
              <a:rPr lang="en-US" sz="800" dirty="0" smtClean="0">
                <a:solidFill>
                  <a:schemeClr val="accent2"/>
                </a:solidFill>
              </a:rPr>
              <a:t> </a:t>
            </a:r>
            <a:r>
              <a:rPr lang="en-US" sz="800" dirty="0" err="1" smtClean="0">
                <a:solidFill>
                  <a:schemeClr val="accent2"/>
                </a:solidFill>
              </a:rPr>
              <a:t>kehittää</a:t>
            </a:r>
            <a:r>
              <a:rPr lang="en-US" sz="800" dirty="0" smtClean="0">
                <a:solidFill>
                  <a:schemeClr val="accent2"/>
                </a:solidFill>
              </a:rPr>
              <a:t> 100% </a:t>
            </a:r>
            <a:r>
              <a:rPr lang="en-US" sz="800" dirty="0" err="1" smtClean="0">
                <a:solidFill>
                  <a:schemeClr val="accent2"/>
                </a:solidFill>
              </a:rPr>
              <a:t>uusiutuvan</a:t>
            </a:r>
            <a:r>
              <a:rPr lang="en-US" sz="800" dirty="0" smtClean="0">
                <a:solidFill>
                  <a:schemeClr val="accent2"/>
                </a:solidFill>
              </a:rPr>
              <a:t> </a:t>
            </a:r>
            <a:r>
              <a:rPr lang="en-US" sz="800" dirty="0" err="1" smtClean="0">
                <a:solidFill>
                  <a:schemeClr val="accent2"/>
                </a:solidFill>
              </a:rPr>
              <a:t>dieselin</a:t>
            </a:r>
            <a:r>
              <a:rPr lang="en-US" sz="800" dirty="0" smtClean="0">
                <a:solidFill>
                  <a:schemeClr val="accent2"/>
                </a:solidFill>
              </a:rPr>
              <a:t> ja </a:t>
            </a:r>
            <a:r>
              <a:rPr lang="en-US" sz="800" dirty="0" err="1" smtClean="0">
                <a:solidFill>
                  <a:schemeClr val="accent2"/>
                </a:solidFill>
              </a:rPr>
              <a:t>hakee</a:t>
            </a:r>
            <a:r>
              <a:rPr lang="en-US" sz="800" dirty="0" smtClean="0">
                <a:solidFill>
                  <a:schemeClr val="accent2"/>
                </a:solidFill>
              </a:rPr>
              <a:t> </a:t>
            </a:r>
            <a:r>
              <a:rPr lang="en-US" sz="800" dirty="0" err="1" smtClean="0">
                <a:solidFill>
                  <a:schemeClr val="accent2"/>
                </a:solidFill>
              </a:rPr>
              <a:t>patenttia</a:t>
            </a:r>
            <a:r>
              <a:rPr lang="en-US" sz="800" dirty="0" smtClean="0">
                <a:solidFill>
                  <a:schemeClr val="accent2"/>
                </a:solidFill>
              </a:rPr>
              <a:t> NEXBTL-</a:t>
            </a:r>
            <a:r>
              <a:rPr lang="en-US" sz="800" dirty="0" err="1" smtClean="0">
                <a:solidFill>
                  <a:schemeClr val="accent2"/>
                </a:solidFill>
              </a:rPr>
              <a:t>jalostusteknologialle</a:t>
            </a:r>
            <a:endParaRPr lang="fi-FI" sz="800" dirty="0">
              <a:solidFill>
                <a:schemeClr val="accent2"/>
              </a:solidFill>
            </a:endParaRPr>
          </a:p>
        </p:txBody>
      </p:sp>
      <p:sp>
        <p:nvSpPr>
          <p:cNvPr id="52" name="Teardrop 51"/>
          <p:cNvSpPr>
            <a:spLocks noChangeAspect="1"/>
          </p:cNvSpPr>
          <p:nvPr/>
        </p:nvSpPr>
        <p:spPr bwMode="auto">
          <a:xfrm>
            <a:off x="5469088" y="1892792"/>
            <a:ext cx="638285" cy="639849"/>
          </a:xfrm>
          <a:prstGeom prst="teardrop">
            <a:avLst/>
          </a:prstGeom>
          <a:solidFill>
            <a:sysClr val="window" lastClr="FFFFFF">
              <a:alpha val="82000"/>
            </a:sysClr>
          </a:solidFill>
          <a:ln w="12700" cap="flat" cmpd="sng" algn="ctr">
            <a:noFill/>
            <a:prstDash val="solid"/>
          </a:ln>
          <a:effectLst/>
        </p:spPr>
        <p:txBody>
          <a:bodyPr wrap="none" anchor="ctr"/>
          <a:lstStyle/>
          <a:p>
            <a:pPr marL="0" marR="0" indent="0" algn="ct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kern="0" dirty="0" smtClean="0">
                <a:solidFill>
                  <a:schemeClr val="accent2"/>
                </a:solidFill>
                <a:cs typeface="Arial"/>
              </a:rPr>
              <a:t>2016</a:t>
            </a:r>
            <a:endParaRPr lang="en-US" sz="1100" kern="0" dirty="0">
              <a:solidFill>
                <a:schemeClr val="accent2"/>
              </a:solidFill>
              <a:latin typeface="Calibri"/>
            </a:endParaRPr>
          </a:p>
        </p:txBody>
      </p:sp>
      <p:cxnSp>
        <p:nvCxnSpPr>
          <p:cNvPr id="70" name="Straight Connector 69"/>
          <p:cNvCxnSpPr>
            <a:cxnSpLocks/>
            <a:stCxn id="24" idx="0"/>
            <a:endCxn id="52" idx="4"/>
          </p:cNvCxnSpPr>
          <p:nvPr/>
        </p:nvCxnSpPr>
        <p:spPr>
          <a:xfrm flipV="1">
            <a:off x="4557712" y="2212717"/>
            <a:ext cx="911376" cy="3442"/>
          </a:xfrm>
          <a:prstGeom prst="line">
            <a:avLst/>
          </a:prstGeom>
          <a:ln w="57150" cmpd="sng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oup 74"/>
          <p:cNvGrpSpPr/>
          <p:nvPr/>
        </p:nvGrpSpPr>
        <p:grpSpPr>
          <a:xfrm>
            <a:off x="6765265" y="2597329"/>
            <a:ext cx="1128838" cy="1076037"/>
            <a:chOff x="3248103" y="3294794"/>
            <a:chExt cx="1094918" cy="565993"/>
          </a:xfrm>
        </p:grpSpPr>
        <p:sp>
          <p:nvSpPr>
            <p:cNvPr id="76" name="Rounded Rectangle 36"/>
            <p:cNvSpPr/>
            <p:nvPr/>
          </p:nvSpPr>
          <p:spPr>
            <a:xfrm>
              <a:off x="3248103" y="3294795"/>
              <a:ext cx="1094918" cy="565992"/>
            </a:xfrm>
            <a:prstGeom prst="roundRect">
              <a:avLst/>
            </a:prstGeom>
            <a:solidFill>
              <a:schemeClr val="bg1"/>
            </a:solidFill>
            <a:ln w="127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tIns="46800" rIns="108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4137837" y="3294794"/>
              <a:ext cx="205184" cy="264867"/>
            </a:xfrm>
            <a:prstGeom prst="rect">
              <a:avLst/>
            </a:prstGeom>
            <a:solidFill>
              <a:schemeClr val="bg1"/>
            </a:solidFill>
            <a:ln w="127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tIns="46800" rIns="108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73" name="TextBox 72"/>
          <p:cNvSpPr txBox="1"/>
          <p:nvPr/>
        </p:nvSpPr>
        <p:spPr bwMode="auto">
          <a:xfrm>
            <a:off x="6696506" y="2605927"/>
            <a:ext cx="1258429" cy="1055608"/>
          </a:xfrm>
          <a:prstGeom prst="round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800" dirty="0" smtClean="0">
                <a:solidFill>
                  <a:schemeClr val="accent2"/>
                </a:solidFill>
              </a:rPr>
              <a:t>TAVOITE 2020</a:t>
            </a:r>
            <a:endParaRPr lang="en-US" sz="800" dirty="0">
              <a:solidFill>
                <a:schemeClr val="accent2"/>
              </a:solidFill>
            </a:endParaRPr>
          </a:p>
          <a:p>
            <a:pPr algn="ctr"/>
            <a:r>
              <a:rPr lang="en-US" sz="800" dirty="0">
                <a:solidFill>
                  <a:schemeClr val="accent2"/>
                </a:solidFill>
              </a:rPr>
              <a:t>20% </a:t>
            </a:r>
            <a:endParaRPr lang="fi-FI" sz="800" dirty="0">
              <a:solidFill>
                <a:schemeClr val="accent2"/>
              </a:solidFill>
            </a:endParaRPr>
          </a:p>
          <a:p>
            <a:pPr algn="ctr"/>
            <a:r>
              <a:rPr lang="en-US" sz="800" dirty="0" err="1">
                <a:solidFill>
                  <a:schemeClr val="accent2"/>
                </a:solidFill>
              </a:rPr>
              <a:t>uusiutuvien</a:t>
            </a:r>
            <a:r>
              <a:rPr lang="en-US" sz="800" dirty="0">
                <a:solidFill>
                  <a:schemeClr val="accent2"/>
                </a:solidFill>
              </a:rPr>
              <a:t> </a:t>
            </a:r>
            <a:r>
              <a:rPr lang="en-US" sz="800" dirty="0" err="1">
                <a:solidFill>
                  <a:schemeClr val="accent2"/>
                </a:solidFill>
              </a:rPr>
              <a:t>myynti</a:t>
            </a:r>
            <a:r>
              <a:rPr lang="en-US" sz="800" dirty="0">
                <a:solidFill>
                  <a:schemeClr val="accent2"/>
                </a:solidFill>
              </a:rPr>
              <a:t>- </a:t>
            </a:r>
            <a:r>
              <a:rPr lang="en-US" sz="800" dirty="0" err="1">
                <a:solidFill>
                  <a:schemeClr val="accent2"/>
                </a:solidFill>
              </a:rPr>
              <a:t>volyymista</a:t>
            </a:r>
            <a:endParaRPr lang="fi-FI" sz="800" dirty="0">
              <a:solidFill>
                <a:schemeClr val="accent2"/>
              </a:solidFill>
            </a:endParaRPr>
          </a:p>
          <a:p>
            <a:pPr algn="ctr"/>
            <a:r>
              <a:rPr lang="en-US" sz="800" dirty="0" err="1">
                <a:solidFill>
                  <a:schemeClr val="accent2"/>
                </a:solidFill>
              </a:rPr>
              <a:t>t</a:t>
            </a:r>
            <a:r>
              <a:rPr lang="en-US" sz="800" dirty="0" err="1" smtClean="0">
                <a:solidFill>
                  <a:schemeClr val="accent2"/>
                </a:solidFill>
              </a:rPr>
              <a:t>ulee</a:t>
            </a:r>
            <a:r>
              <a:rPr lang="en-US" sz="800" dirty="0" smtClean="0">
                <a:solidFill>
                  <a:schemeClr val="accent2"/>
                </a:solidFill>
              </a:rPr>
              <a:t> </a:t>
            </a:r>
            <a:r>
              <a:rPr lang="en-US" sz="800" dirty="0" err="1" smtClean="0">
                <a:solidFill>
                  <a:schemeClr val="accent2"/>
                </a:solidFill>
              </a:rPr>
              <a:t>tieliikenteen</a:t>
            </a:r>
            <a:r>
              <a:rPr lang="en-US" sz="800" dirty="0" smtClean="0">
                <a:solidFill>
                  <a:schemeClr val="accent2"/>
                </a:solidFill>
              </a:rPr>
              <a:t> </a:t>
            </a:r>
            <a:r>
              <a:rPr lang="en-US" sz="800" dirty="0" err="1" smtClean="0">
                <a:solidFill>
                  <a:schemeClr val="accent2"/>
                </a:solidFill>
              </a:rPr>
              <a:t>ulkopuolisista</a:t>
            </a:r>
            <a:r>
              <a:rPr lang="en-US" sz="800" dirty="0" smtClean="0">
                <a:solidFill>
                  <a:schemeClr val="accent2"/>
                </a:solidFill>
              </a:rPr>
              <a:t> </a:t>
            </a:r>
            <a:r>
              <a:rPr lang="en-US" sz="800" dirty="0" err="1" smtClean="0">
                <a:solidFill>
                  <a:schemeClr val="accent2"/>
                </a:solidFill>
              </a:rPr>
              <a:t>sovelluksista</a:t>
            </a:r>
            <a:r>
              <a:rPr lang="en-US" sz="800" dirty="0" smtClean="0">
                <a:solidFill>
                  <a:schemeClr val="accent2"/>
                </a:solidFill>
              </a:rPr>
              <a:t>   </a:t>
            </a:r>
            <a:endParaRPr lang="en-US" sz="800" dirty="0">
              <a:solidFill>
                <a:schemeClr val="accent2"/>
              </a:solidFill>
            </a:endParaRPr>
          </a:p>
        </p:txBody>
      </p:sp>
      <p:grpSp>
        <p:nvGrpSpPr>
          <p:cNvPr id="81" name="Group 80"/>
          <p:cNvGrpSpPr/>
          <p:nvPr/>
        </p:nvGrpSpPr>
        <p:grpSpPr>
          <a:xfrm>
            <a:off x="467587" y="2621200"/>
            <a:ext cx="1120009" cy="904989"/>
            <a:chOff x="491257" y="3301293"/>
            <a:chExt cx="983982" cy="1147694"/>
          </a:xfrm>
        </p:grpSpPr>
        <p:sp>
          <p:nvSpPr>
            <p:cNvPr id="82" name="Rounded Rectangle 39"/>
            <p:cNvSpPr/>
            <p:nvPr/>
          </p:nvSpPr>
          <p:spPr>
            <a:xfrm>
              <a:off x="491257" y="3301293"/>
              <a:ext cx="983982" cy="1147694"/>
            </a:xfrm>
            <a:prstGeom prst="roundRect">
              <a:avLst/>
            </a:prstGeom>
            <a:solidFill>
              <a:schemeClr val="bg1"/>
            </a:solidFill>
            <a:ln w="127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tIns="46800" rIns="108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1270055" y="3301293"/>
              <a:ext cx="205184" cy="264867"/>
            </a:xfrm>
            <a:prstGeom prst="rect">
              <a:avLst/>
            </a:prstGeom>
            <a:solidFill>
              <a:schemeClr val="bg1"/>
            </a:solidFill>
            <a:ln w="127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tIns="46800" rIns="108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4" name="TextBox 33"/>
          <p:cNvSpPr txBox="1"/>
          <p:nvPr/>
        </p:nvSpPr>
        <p:spPr bwMode="auto">
          <a:xfrm>
            <a:off x="467587" y="2635062"/>
            <a:ext cx="1103280" cy="830997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lvl="0" algn="ctr"/>
            <a:r>
              <a:rPr lang="en-US" sz="800" dirty="0" err="1" smtClean="0">
                <a:solidFill>
                  <a:schemeClr val="accent2"/>
                </a:solidFill>
              </a:rPr>
              <a:t>Neste</a:t>
            </a:r>
            <a:r>
              <a:rPr lang="en-US" sz="800" dirty="0" smtClean="0">
                <a:solidFill>
                  <a:schemeClr val="accent2"/>
                </a:solidFill>
              </a:rPr>
              <a:t> </a:t>
            </a:r>
            <a:r>
              <a:rPr lang="en-US" sz="800" dirty="0" err="1" smtClean="0">
                <a:solidFill>
                  <a:schemeClr val="accent2"/>
                </a:solidFill>
              </a:rPr>
              <a:t>perustetaan</a:t>
            </a:r>
            <a:r>
              <a:rPr lang="en-US" sz="800" dirty="0" smtClean="0">
                <a:solidFill>
                  <a:schemeClr val="accent2"/>
                </a:solidFill>
              </a:rPr>
              <a:t>. </a:t>
            </a:r>
            <a:r>
              <a:rPr lang="en-US" sz="800" dirty="0" err="1" smtClean="0">
                <a:solidFill>
                  <a:schemeClr val="accent2"/>
                </a:solidFill>
              </a:rPr>
              <a:t>Keskeisenä</a:t>
            </a:r>
            <a:r>
              <a:rPr lang="en-US" sz="800" dirty="0" smtClean="0">
                <a:solidFill>
                  <a:schemeClr val="accent2"/>
                </a:solidFill>
              </a:rPr>
              <a:t> </a:t>
            </a:r>
            <a:r>
              <a:rPr lang="en-US" sz="800" dirty="0" err="1" smtClean="0">
                <a:solidFill>
                  <a:schemeClr val="accent2"/>
                </a:solidFill>
              </a:rPr>
              <a:t>ajatuksena</a:t>
            </a:r>
            <a:r>
              <a:rPr lang="en-US" sz="800" dirty="0" smtClean="0">
                <a:solidFill>
                  <a:schemeClr val="accent2"/>
                </a:solidFill>
              </a:rPr>
              <a:t> on </a:t>
            </a:r>
            <a:r>
              <a:rPr lang="en-US" sz="800" dirty="0" err="1" smtClean="0">
                <a:solidFill>
                  <a:schemeClr val="accent2"/>
                </a:solidFill>
              </a:rPr>
              <a:t>turvata</a:t>
            </a:r>
            <a:r>
              <a:rPr lang="en-US" sz="800" dirty="0" smtClean="0">
                <a:solidFill>
                  <a:schemeClr val="accent2"/>
                </a:solidFill>
              </a:rPr>
              <a:t> </a:t>
            </a:r>
            <a:r>
              <a:rPr lang="en-US" sz="800" dirty="0" err="1" smtClean="0">
                <a:solidFill>
                  <a:schemeClr val="accent2"/>
                </a:solidFill>
              </a:rPr>
              <a:t>Suomen</a:t>
            </a:r>
            <a:r>
              <a:rPr lang="en-US" sz="800" dirty="0" smtClean="0">
                <a:solidFill>
                  <a:schemeClr val="accent2"/>
                </a:solidFill>
              </a:rPr>
              <a:t> </a:t>
            </a:r>
            <a:r>
              <a:rPr lang="en-US" sz="800" dirty="0" err="1" smtClean="0">
                <a:solidFill>
                  <a:schemeClr val="accent2"/>
                </a:solidFill>
              </a:rPr>
              <a:t>öljytuotteiden</a:t>
            </a:r>
            <a:r>
              <a:rPr lang="en-US" sz="800" dirty="0" smtClean="0">
                <a:solidFill>
                  <a:schemeClr val="accent2"/>
                </a:solidFill>
              </a:rPr>
              <a:t> </a:t>
            </a:r>
            <a:r>
              <a:rPr lang="en-US" sz="800" dirty="0" err="1" smtClean="0">
                <a:solidFill>
                  <a:schemeClr val="accent2"/>
                </a:solidFill>
              </a:rPr>
              <a:t>tarjonta</a:t>
            </a:r>
            <a:endParaRPr lang="en-US" sz="800" dirty="0">
              <a:solidFill>
                <a:schemeClr val="accent2"/>
              </a:solidFill>
            </a:endParaRPr>
          </a:p>
        </p:txBody>
      </p:sp>
      <p:cxnSp>
        <p:nvCxnSpPr>
          <p:cNvPr id="85" name="Straight Connector 84"/>
          <p:cNvCxnSpPr>
            <a:cxnSpLocks/>
            <a:stCxn id="35" idx="0"/>
            <a:endCxn id="24" idx="4"/>
          </p:cNvCxnSpPr>
          <p:nvPr/>
        </p:nvCxnSpPr>
        <p:spPr>
          <a:xfrm>
            <a:off x="2909552" y="2212717"/>
            <a:ext cx="1009875" cy="3442"/>
          </a:xfrm>
          <a:prstGeom prst="line">
            <a:avLst/>
          </a:prstGeom>
          <a:ln w="57150" cmpd="sng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>
            <a:cxnSpLocks/>
            <a:stCxn id="23" idx="0"/>
            <a:endCxn id="35" idx="4"/>
          </p:cNvCxnSpPr>
          <p:nvPr/>
        </p:nvCxnSpPr>
        <p:spPr>
          <a:xfrm>
            <a:off x="1155548" y="2207888"/>
            <a:ext cx="1115719" cy="4829"/>
          </a:xfrm>
          <a:prstGeom prst="line">
            <a:avLst/>
          </a:prstGeom>
          <a:ln w="57150" cmpd="sng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6"/>
          <p:cNvGrpSpPr/>
          <p:nvPr/>
        </p:nvGrpSpPr>
        <p:grpSpPr>
          <a:xfrm>
            <a:off x="4140859" y="3443625"/>
            <a:ext cx="1647371" cy="733830"/>
            <a:chOff x="2759318" y="3294794"/>
            <a:chExt cx="1583705" cy="530137"/>
          </a:xfrm>
        </p:grpSpPr>
        <p:sp>
          <p:nvSpPr>
            <p:cNvPr id="62" name="Rounded Rectangle 36"/>
            <p:cNvSpPr/>
            <p:nvPr/>
          </p:nvSpPr>
          <p:spPr>
            <a:xfrm>
              <a:off x="2759318" y="3294795"/>
              <a:ext cx="1583705" cy="530136"/>
            </a:xfrm>
            <a:prstGeom prst="roundRect">
              <a:avLst/>
            </a:prstGeom>
            <a:solidFill>
              <a:schemeClr val="bg1"/>
            </a:solidFill>
            <a:ln w="127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tIns="46800" rIns="108000" rtlCol="0" anchor="ctr"/>
            <a:lstStyle/>
            <a:p>
              <a:pPr algn="ctr"/>
              <a:r>
                <a:rPr lang="en-US" sz="800" dirty="0" smtClean="0">
                  <a:solidFill>
                    <a:schemeClr val="accent2"/>
                  </a:solidFill>
                </a:rPr>
                <a:t>2007-2011</a:t>
              </a:r>
              <a:r>
                <a:rPr lang="en-US" sz="800" dirty="0">
                  <a:solidFill>
                    <a:schemeClr val="accent2"/>
                  </a:solidFill>
                </a:rPr>
                <a:t/>
              </a:r>
              <a:br>
                <a:rPr lang="en-US" sz="800" dirty="0">
                  <a:solidFill>
                    <a:schemeClr val="accent2"/>
                  </a:solidFill>
                </a:rPr>
              </a:br>
              <a:r>
                <a:rPr lang="en-US" sz="800" dirty="0" err="1" smtClean="0">
                  <a:solidFill>
                    <a:schemeClr val="accent2"/>
                  </a:solidFill>
                </a:rPr>
                <a:t>Uusiutuvien</a:t>
              </a:r>
              <a:r>
                <a:rPr lang="en-US" sz="800" dirty="0" smtClean="0">
                  <a:solidFill>
                    <a:schemeClr val="accent2"/>
                  </a:solidFill>
                </a:rPr>
                <a:t> </a:t>
              </a:r>
              <a:r>
                <a:rPr lang="en-US" sz="800" dirty="0" err="1" smtClean="0">
                  <a:solidFill>
                    <a:schemeClr val="accent2"/>
                  </a:solidFill>
                </a:rPr>
                <a:t>tuotteiden</a:t>
              </a:r>
              <a:r>
                <a:rPr lang="en-US" sz="800" dirty="0" smtClean="0">
                  <a:solidFill>
                    <a:schemeClr val="accent2"/>
                  </a:solidFill>
                </a:rPr>
                <a:t>  </a:t>
              </a:r>
              <a:r>
                <a:rPr lang="en-US" sz="800" dirty="0" err="1" smtClean="0">
                  <a:solidFill>
                    <a:schemeClr val="accent2"/>
                  </a:solidFill>
                </a:rPr>
                <a:t>laitokset</a:t>
              </a:r>
              <a:r>
                <a:rPr lang="en-US" sz="800" dirty="0" smtClean="0">
                  <a:solidFill>
                    <a:schemeClr val="accent2"/>
                  </a:solidFill>
                </a:rPr>
                <a:t> </a:t>
              </a:r>
              <a:r>
                <a:rPr lang="en-US" sz="800" dirty="0" err="1" smtClean="0">
                  <a:solidFill>
                    <a:schemeClr val="accent2"/>
                  </a:solidFill>
                </a:rPr>
                <a:t>Porvooseen</a:t>
              </a:r>
              <a:r>
                <a:rPr lang="en-US" sz="800" dirty="0" smtClean="0">
                  <a:solidFill>
                    <a:schemeClr val="accent2"/>
                  </a:solidFill>
                </a:rPr>
                <a:t>, </a:t>
              </a:r>
              <a:r>
                <a:rPr lang="en-US" sz="800" dirty="0" err="1" smtClean="0">
                  <a:solidFill>
                    <a:schemeClr val="accent2"/>
                  </a:solidFill>
                </a:rPr>
                <a:t>Singaporeen</a:t>
              </a:r>
              <a:r>
                <a:rPr lang="en-US" sz="800" dirty="0" smtClean="0">
                  <a:solidFill>
                    <a:schemeClr val="accent2"/>
                  </a:solidFill>
                </a:rPr>
                <a:t> ja </a:t>
              </a:r>
              <a:r>
                <a:rPr lang="en-US" sz="800" dirty="0" err="1" smtClean="0">
                  <a:solidFill>
                    <a:schemeClr val="accent2"/>
                  </a:solidFill>
                </a:rPr>
                <a:t>Rotterdamiin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63" name="Rectangle 37"/>
            <p:cNvSpPr/>
            <p:nvPr/>
          </p:nvSpPr>
          <p:spPr>
            <a:xfrm>
              <a:off x="4137837" y="3294794"/>
              <a:ext cx="205184" cy="264867"/>
            </a:xfrm>
            <a:prstGeom prst="rect">
              <a:avLst/>
            </a:prstGeom>
            <a:solidFill>
              <a:schemeClr val="bg1"/>
            </a:solidFill>
            <a:ln w="127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tIns="46800" rIns="108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3177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ste Presentation templates">
  <a:themeElements>
    <a:clrScheme name="Neste2016">
      <a:dk1>
        <a:srgbClr val="666666"/>
      </a:dk1>
      <a:lt1>
        <a:srgbClr val="FFFFFF"/>
      </a:lt1>
      <a:dk2>
        <a:srgbClr val="333333"/>
      </a:dk2>
      <a:lt2>
        <a:srgbClr val="DCDCDC"/>
      </a:lt2>
      <a:accent1>
        <a:srgbClr val="66CD00"/>
      </a:accent1>
      <a:accent2>
        <a:srgbClr val="001177"/>
      </a:accent2>
      <a:accent3>
        <a:srgbClr val="66AADD"/>
      </a:accent3>
      <a:accent4>
        <a:srgbClr val="333333"/>
      </a:accent4>
      <a:accent5>
        <a:srgbClr val="666666"/>
      </a:accent5>
      <a:accent6>
        <a:srgbClr val="C8C8C8"/>
      </a:accent6>
      <a:hlink>
        <a:srgbClr val="66AADD"/>
      </a:hlink>
      <a:folHlink>
        <a:srgbClr val="666666"/>
      </a:folHlink>
    </a:clrScheme>
    <a:fontScheme name="Neste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2700" cmpd="sng">
          <a:solidFill>
            <a:schemeClr val="accent1"/>
          </a:solidFill>
        </a:ln>
      </a:spPr>
      <a:bodyPr lIns="108000" tIns="46800" rIns="10800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08000" tIns="46800" rIns="108000" rtlCol="0">
        <a:spAutoFit/>
      </a:bodyPr>
      <a:lstStyle>
        <a:defPPr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ste_ppt_esityspohjat_210916_vJV27.potx" id="{C5616F8A-C449-42AB-8600-3B60CB35E883}" vid="{E2CBCB0A-6FF3-423A-8204-DF1709305154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KameleonDM xmlns="http://schemas.microsoft.com/sharepoint/v3">sharepoint</KameleonDM>
    <ContractingParties xmlns="http://schemas.microsoft.com/sharepoint/v3" xsi:nil="true"/>
    <SkipIDCreation xmlns="http://schemas.microsoft.com/sharepoint/v3">false</SkipIDCreation>
    <Unit xmlns="http://schemas.microsoft.com/sharepoint/v3" xsi:nil="true"/>
    <KameleonContentID xmlns="http://schemas.microsoft.com/sharepoint/v3" xsi:nil="true"/>
    <DocumentNumber xmlns="http://schemas.microsoft.com/sharepoint/v3" xsi:nil="true"/>
    <Appendix xmlns="http://schemas.microsoft.com/sharepoint/v3" xsi:nil="true"/>
    <KameleonContentFile xmlns="http://schemas.microsoft.com/sharepoint/v3" xsi:nil="true"/>
    <DocumentID xmlns="http://schemas.microsoft.com/sharepoint/v3" xsi:nil="true"/>
    <KameleonContentType xmlns="http://schemas.microsoft.com/sharepoint/v3" xsi:nil="true"/>
    <TargetID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Kameleon Basic Documents" ma:contentTypeID="0x010100B9D4CF4EC9F84B83B87E90803C4B7E83010030BB25D4E34054478669EC242E2C3297" ma:contentTypeVersion="1" ma:contentTypeDescription="Neste Oil Kameleon Basic Documents type." ma:contentTypeScope="" ma:versionID="dd4bcfe407364a9e7326e518b640bf76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a5aed8f398fd247301d7e084dc2e9df6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KameleonDM" minOccurs="0"/>
                <xsd:element ref="ns1:KameleonContentFile" minOccurs="0"/>
                <xsd:element ref="ns1:KameleonContentID" minOccurs="0"/>
                <xsd:element ref="ns1:Unit" minOccurs="0"/>
                <xsd:element ref="ns1:ContractingParties" minOccurs="0"/>
                <xsd:element ref="ns1:TargetID" minOccurs="0"/>
                <xsd:element ref="ns1:DocumentNumber" minOccurs="0"/>
                <xsd:element ref="ns1:Appendix" minOccurs="0"/>
                <xsd:element ref="ns1:DocumentID" minOccurs="0"/>
                <xsd:element ref="ns1:SkipIDCreation" minOccurs="0"/>
                <xsd:element ref="ns1:KameleonContentTyp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KameleonDM" ma:index="8" nillable="true" ma:displayName="KameleonDM" ma:default="sharepoint" ma:internalName="KameleonDM">
      <xsd:simpleType>
        <xsd:restriction base="dms:Text"/>
      </xsd:simpleType>
    </xsd:element>
    <xsd:element name="KameleonContentFile" ma:index="9" nillable="true" ma:displayName="KameleonContentFile" ma:internalName="KameleonContentFile">
      <xsd:simpleType>
        <xsd:restriction base="dms:Text"/>
      </xsd:simpleType>
    </xsd:element>
    <xsd:element name="KameleonContentID" ma:index="10" nillable="true" ma:displayName="KameleonContentID" ma:internalName="KameleonContentID">
      <xsd:simpleType>
        <xsd:restriction base="dms:Text"/>
      </xsd:simpleType>
    </xsd:element>
    <xsd:element name="Unit" ma:index="11" nillable="true" ma:displayName="Unit" ma:internalName="Unit">
      <xsd:simpleType>
        <xsd:union memberTypes="dms:Text">
          <xsd:simpleType>
            <xsd:restriction base="dms:Choice"/>
          </xsd:simpleType>
        </xsd:union>
      </xsd:simpleType>
    </xsd:element>
    <xsd:element name="ContractingParties" ma:index="12" nillable="true" ma:displayName="ContractingParties" ma:internalName="ContractingParties">
      <xsd:simpleType>
        <xsd:restriction base="dms:Text"/>
      </xsd:simpleType>
    </xsd:element>
    <xsd:element name="TargetID" ma:index="13" nillable="true" ma:displayName="TargetID" ma:internalName="TargetID">
      <xsd:simpleType>
        <xsd:restriction base="dms:Text"/>
      </xsd:simpleType>
    </xsd:element>
    <xsd:element name="DocumentNumber" ma:index="14" nillable="true" ma:displayName="DocumentNumber" ma:internalName="DocumentNumber">
      <xsd:simpleType>
        <xsd:restriction base="dms:Text"/>
      </xsd:simpleType>
    </xsd:element>
    <xsd:element name="Appendix" ma:index="15" nillable="true" ma:displayName="Appendix" ma:internalName="Appendix">
      <xsd:simpleType>
        <xsd:restriction base="dms:Text"/>
      </xsd:simpleType>
    </xsd:element>
    <xsd:element name="DocumentID" ma:index="16" nillable="true" ma:displayName="DocumentID" ma:description="Neste Oil customized document id." ma:internalName="DocumentID" ma:readOnly="false">
      <xsd:simpleType>
        <xsd:restriction base="dms:Text"/>
      </xsd:simpleType>
    </xsd:element>
    <xsd:element name="SkipIDCreation" ma:index="17" nillable="true" ma:displayName="SkipIDCreation" ma:internalName="SkipIDCreation">
      <xsd:simpleType>
        <xsd:restriction base="dms:Boolean"/>
      </xsd:simpleType>
    </xsd:element>
    <xsd:element name="KameleonContentType" ma:index="18" nillable="true" ma:displayName="KameleonContentType" ma:internalName="KameleonContentTyp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2F4DCCF-1C54-468D-BFC6-828A73EE03D6}">
  <ds:schemaRefs>
    <ds:schemaRef ds:uri="http://www.w3.org/XML/1998/namespace"/>
    <ds:schemaRef ds:uri="http://purl.org/dc/dcmitype/"/>
    <ds:schemaRef ds:uri="http://purl.org/dc/terms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sharepoint/v3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1861D6B8-6E54-477B-96C8-92A4A152057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B0D42AA7-B91F-45E0-A4D5-EB73CC39BAB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ste_ppt_esityspohjat_210916_vJV28.potx</Template>
  <TotalTime>0</TotalTime>
  <Words>1840</Words>
  <Application>Microsoft Office PowerPoint</Application>
  <PresentationFormat>On-screen Show (16:9)</PresentationFormat>
  <Paragraphs>325</Paragraphs>
  <Slides>43</Slides>
  <Notes>19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2" baseType="lpstr">
      <vt:lpstr>ＭＳ Ｐゴシック</vt:lpstr>
      <vt:lpstr>ＭＳ Ｐゴシック</vt:lpstr>
      <vt:lpstr>Arial</vt:lpstr>
      <vt:lpstr>Arial Rounded MT Bold</vt:lpstr>
      <vt:lpstr>Calibri</vt:lpstr>
      <vt:lpstr>Rockwell Condensed</vt:lpstr>
      <vt:lpstr>Trebuchet MS</vt:lpstr>
      <vt:lpstr>Neste Presentation templates</vt:lpstr>
      <vt:lpstr>think-cell Slide</vt:lpstr>
      <vt:lpstr>Patentit ja keksinnöt tuotekehityksen kannalta</vt:lpstr>
      <vt:lpstr>Esityksen sisältö</vt:lpstr>
      <vt:lpstr>PowerPoint Presentation</vt:lpstr>
      <vt:lpstr>PowerPoint Presentation</vt:lpstr>
      <vt:lpstr>PowerPoint Presentation</vt:lpstr>
      <vt:lpstr>Neste maailmalla</vt:lpstr>
      <vt:lpstr>PowerPoint Presentation</vt:lpstr>
      <vt:lpstr>PowerPoint Presentation</vt:lpstr>
      <vt:lpstr>Matkamme öljynjalostusyhtiöstä maailman suurimmaksi uusiutuvan dieselin tuottajaksi </vt:lpstr>
      <vt:lpstr>Nesteen uudistusten myötä tuottavia muutoksi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uloksellinen T&amp;K – osa Nesteen menestystä </vt:lpstr>
      <vt:lpstr>PowerPoint Presentation</vt:lpstr>
      <vt:lpstr>PowerPoint Presentation</vt:lpstr>
      <vt:lpstr>PowerPoint Presentation</vt:lpstr>
      <vt:lpstr>Nesteen kehittämä ja patentoima uusiutuva diesel</vt:lpstr>
      <vt:lpstr>Kaksi painavaa syytä uusiutuvan polttoainetuotannon kehittämiselle  </vt:lpstr>
      <vt:lpstr>Raaka-ainepohjan kasvattaminen</vt:lpstr>
      <vt:lpstr>PowerPoint Presentation</vt:lpstr>
      <vt:lpstr>IPR strategian pitää tukea yrityksen tavoitteita </vt:lpstr>
      <vt:lpstr>PowerPoint Presentation</vt:lpstr>
      <vt:lpstr>PowerPoint Presentation</vt:lpstr>
      <vt:lpstr>Patentit tutkimuksessa</vt:lpstr>
      <vt:lpstr>Patenttijärjestelmän lähtökohta</vt:lpstr>
      <vt:lpstr>Tutkimuksen ja kehityksen investointien suojaaminen (1)</vt:lpstr>
      <vt:lpstr>Tutkimuksen ja kehityksen investointien suojaaminen (2)</vt:lpstr>
      <vt:lpstr>Tutkimuksen ja kehityksen investointien suojaaminen (2)</vt:lpstr>
      <vt:lpstr>Keksijän oikeudet ja velvollisuudet</vt:lpstr>
      <vt:lpstr>Patentit tiedonlähteenä</vt:lpstr>
      <vt:lpstr>Kilpailijoiden patenttien huomioiminen (1)</vt:lpstr>
      <vt:lpstr>Kilpailijoiden patenttien huomioiminen (2)</vt:lpstr>
      <vt:lpstr>Kilpailuetua huippuluokan tutkimuksesta</vt:lpstr>
      <vt:lpstr>NEXBTL is a groundbreaking innovation</vt:lpstr>
      <vt:lpstr>PowerPoint Presentation</vt:lpstr>
      <vt:lpstr>Yhteenveto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9-21T10:10:53Z</dcterms:created>
  <dcterms:modified xsi:type="dcterms:W3CDTF">2019-02-04T07:1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D4CF4EC9F84B83B87E90803C4B7E83010030BB25D4E34054478669EC242E2C3297</vt:lpwstr>
  </property>
</Properties>
</file>